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12" r:id="rId1"/>
    <p:sldMasterId id="2147483698" r:id="rId2"/>
    <p:sldMasterId id="2147483753" r:id="rId3"/>
  </p:sldMasterIdLst>
  <p:notesMasterIdLst>
    <p:notesMasterId r:id="rId25"/>
  </p:notesMasterIdLst>
  <p:handoutMasterIdLst>
    <p:handoutMasterId r:id="rId26"/>
  </p:handoutMasterIdLst>
  <p:sldIdLst>
    <p:sldId id="863" r:id="rId4"/>
    <p:sldId id="902" r:id="rId5"/>
    <p:sldId id="901" r:id="rId6"/>
    <p:sldId id="896" r:id="rId7"/>
    <p:sldId id="897" r:id="rId8"/>
    <p:sldId id="910" r:id="rId9"/>
    <p:sldId id="895" r:id="rId10"/>
    <p:sldId id="908" r:id="rId11"/>
    <p:sldId id="909" r:id="rId12"/>
    <p:sldId id="911" r:id="rId13"/>
    <p:sldId id="907" r:id="rId14"/>
    <p:sldId id="905" r:id="rId15"/>
    <p:sldId id="904" r:id="rId16"/>
    <p:sldId id="906" r:id="rId17"/>
    <p:sldId id="892" r:id="rId18"/>
    <p:sldId id="912" r:id="rId19"/>
    <p:sldId id="898" r:id="rId20"/>
    <p:sldId id="899" r:id="rId21"/>
    <p:sldId id="900" r:id="rId22"/>
    <p:sldId id="903" r:id="rId23"/>
    <p:sldId id="351" r:id="rId24"/>
  </p:sldIdLst>
  <p:sldSz cx="12192000" cy="6858000"/>
  <p:notesSz cx="6858000" cy="9144000"/>
  <p:defaultTextStyle>
    <a:defPPr>
      <a:defRPr lang="fr-FR"/>
    </a:defPPr>
    <a:lvl1pPr marL="0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HOWEET" id="{D34E524A-D6EF-4CBC-A13A-51C3740B0549}">
          <p14:sldIdLst>
            <p14:sldId id="863"/>
            <p14:sldId id="902"/>
            <p14:sldId id="901"/>
            <p14:sldId id="896"/>
            <p14:sldId id="897"/>
            <p14:sldId id="910"/>
            <p14:sldId id="895"/>
            <p14:sldId id="908"/>
            <p14:sldId id="909"/>
            <p14:sldId id="911"/>
            <p14:sldId id="907"/>
            <p14:sldId id="905"/>
            <p14:sldId id="904"/>
            <p14:sldId id="906"/>
            <p14:sldId id="892"/>
            <p14:sldId id="912"/>
            <p14:sldId id="898"/>
            <p14:sldId id="899"/>
            <p14:sldId id="900"/>
            <p14:sldId id="903"/>
            <p14:sldId id="351"/>
          </p14:sldIdLst>
        </p14:section>
        <p14:section name="CREDITS &amp; COPYRIGHTS" id="{96A22112-93F8-4FC4-92DC-51B794962ED1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251" userDrawn="1">
          <p15:clr>
            <a:srgbClr val="A4A3A4"/>
          </p15:clr>
        </p15:guide>
        <p15:guide id="3" orient="horz" pos="3159" userDrawn="1">
          <p15:clr>
            <a:srgbClr val="A4A3A4"/>
          </p15:clr>
        </p15:guide>
        <p15:guide id="5" orient="horz" pos="981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575" userDrawn="1">
          <p15:clr>
            <a:srgbClr val="A4A3A4"/>
          </p15:clr>
        </p15:guide>
        <p15:guide id="8" pos="7105" userDrawn="1">
          <p15:clr>
            <a:srgbClr val="A4A3A4"/>
          </p15:clr>
        </p15:guide>
        <p15:guide id="9" pos="7408" userDrawn="1">
          <p15:clr>
            <a:srgbClr val="A4A3A4"/>
          </p15:clr>
        </p15:guide>
        <p15:guide id="10" pos="303" userDrawn="1">
          <p15:clr>
            <a:srgbClr val="A4A3A4"/>
          </p15:clr>
        </p15:guide>
        <p15:guide id="11" pos="1965" userDrawn="1">
          <p15:clr>
            <a:srgbClr val="A4A3A4"/>
          </p15:clr>
        </p15:guide>
        <p15:guide id="12" pos="5715" userDrawn="1">
          <p15:clr>
            <a:srgbClr val="A4A3A4"/>
          </p15:clr>
        </p15:guide>
        <p15:guide id="13" pos="4384" userDrawn="1">
          <p15:clr>
            <a:srgbClr val="A4A3A4"/>
          </p15:clr>
        </p15:guide>
        <p15:guide id="14" orient="horz" pos="3295" userDrawn="1">
          <p15:clr>
            <a:srgbClr val="A4A3A4"/>
          </p15:clr>
        </p15:guide>
        <p15:guide id="15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A36E"/>
    <a:srgbClr val="D0343C"/>
    <a:srgbClr val="8DB1C4"/>
    <a:srgbClr val="3D4149"/>
    <a:srgbClr val="615474"/>
    <a:srgbClr val="F9BE75"/>
    <a:srgbClr val="E4625C"/>
    <a:srgbClr val="403551"/>
    <a:srgbClr val="CECFCE"/>
    <a:srgbClr val="E4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Style foncé 1 - Accentuation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Style foncé 1 - Accentuation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yle foncé 1 - Accentuation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yle foncé 1 - Accentuation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Style foncé 1 - Accentuation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Style foncé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571" autoAdjust="0"/>
    <p:restoredTop sz="79097" autoAdjust="0"/>
  </p:normalViewPr>
  <p:slideViewPr>
    <p:cSldViewPr>
      <p:cViewPr varScale="1">
        <p:scale>
          <a:sx n="66" d="100"/>
          <a:sy n="66" d="100"/>
        </p:scale>
        <p:origin x="979" y="48"/>
      </p:cViewPr>
      <p:guideLst>
        <p:guide orient="horz" pos="2251"/>
        <p:guide orient="horz" pos="3159"/>
        <p:guide orient="horz" pos="981"/>
        <p:guide pos="3840"/>
        <p:guide pos="575"/>
        <p:guide pos="7105"/>
        <p:guide pos="7408"/>
        <p:guide pos="303"/>
        <p:guide pos="1965"/>
        <p:guide pos="5715"/>
        <p:guide pos="4384"/>
        <p:guide orient="horz" pos="3295"/>
        <p:guide orient="horz" pos="2160"/>
      </p:guideLst>
    </p:cSldViewPr>
  </p:slideViewPr>
  <p:outlineViewPr>
    <p:cViewPr>
      <p:scale>
        <a:sx n="33" d="100"/>
        <a:sy n="33" d="100"/>
      </p:scale>
      <p:origin x="0" y="-2850"/>
    </p:cViewPr>
  </p:outlineViewPr>
  <p:notesTextViewPr>
    <p:cViewPr>
      <p:scale>
        <a:sx n="150" d="100"/>
        <a:sy n="150" d="100"/>
      </p:scale>
      <p:origin x="0" y="0"/>
    </p:cViewPr>
  </p:notesTextViewPr>
  <p:notesViewPr>
    <p:cSldViewPr>
      <p:cViewPr varScale="1">
        <p:scale>
          <a:sx n="84" d="100"/>
          <a:sy n="84" d="100"/>
        </p:scale>
        <p:origin x="2976" y="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33B4B9-AFB0-43EB-82AF-ED70AC262E4F}" type="datetimeFigureOut">
              <a:rPr lang="en-US" smtClean="0"/>
              <a:pPr/>
              <a:t>3/22/2022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472C8F-9949-4688-BFEB-F813D79CFC0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992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31E77A-DD07-4A76-801D-B4BF4990C412}" type="datetimeFigureOut">
              <a:rPr lang="en-US" smtClean="0"/>
              <a:pPr/>
              <a:t>3/22/2022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A3AB2B-189A-4C92-A457-C6A3833631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8983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4642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0374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0306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032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9292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2851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6515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6920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5957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961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629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6377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86bd505e9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Google Shape;159;g86bd505e9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87480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8936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9453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5155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9886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7455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4627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905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e">
            <a:extLst>
              <a:ext uri="{FF2B5EF4-FFF2-40B4-BE49-F238E27FC236}">
                <a16:creationId xmlns:a16="http://schemas.microsoft.com/office/drawing/2014/main" id="{0DFD6B67-4EBF-4059-B726-B133E1C8983A}"/>
              </a:ext>
            </a:extLst>
          </p:cNvPr>
          <p:cNvSpPr/>
          <p:nvPr userDrawn="1"/>
        </p:nvSpPr>
        <p:spPr>
          <a:xfrm>
            <a:off x="3867079" y="785076"/>
            <a:ext cx="4801950" cy="59588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693" h="20744" extrusionOk="0">
                <a:moveTo>
                  <a:pt x="50" y="8912"/>
                </a:moveTo>
                <a:cubicBezTo>
                  <a:pt x="599" y="13351"/>
                  <a:pt x="9033" y="21184"/>
                  <a:pt x="14691" y="20725"/>
                </a:cubicBezTo>
                <a:cubicBezTo>
                  <a:pt x="20349" y="20265"/>
                  <a:pt x="21091" y="11684"/>
                  <a:pt x="20542" y="7246"/>
                </a:cubicBezTo>
                <a:cubicBezTo>
                  <a:pt x="19992" y="2808"/>
                  <a:pt x="14951" y="-416"/>
                  <a:pt x="9293" y="43"/>
                </a:cubicBezTo>
                <a:cubicBezTo>
                  <a:pt x="3636" y="503"/>
                  <a:pt x="-509" y="4474"/>
                  <a:pt x="50" y="8912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8" name="Figure">
            <a:extLst>
              <a:ext uri="{FF2B5EF4-FFF2-40B4-BE49-F238E27FC236}">
                <a16:creationId xmlns:a16="http://schemas.microsoft.com/office/drawing/2014/main" id="{A6AFB5AB-00A5-42C5-8B89-0D4DEAD0012C}"/>
              </a:ext>
            </a:extLst>
          </p:cNvPr>
          <p:cNvSpPr/>
          <p:nvPr userDrawn="1"/>
        </p:nvSpPr>
        <p:spPr>
          <a:xfrm>
            <a:off x="2927648" y="1746876"/>
            <a:ext cx="7103771" cy="48296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589" h="18693" extrusionOk="0">
                <a:moveTo>
                  <a:pt x="245" y="15021"/>
                </a:moveTo>
                <a:cubicBezTo>
                  <a:pt x="1306" y="18233"/>
                  <a:pt x="6123" y="19289"/>
                  <a:pt x="10101" y="18380"/>
                </a:cubicBezTo>
                <a:cubicBezTo>
                  <a:pt x="14080" y="17471"/>
                  <a:pt x="20377" y="13324"/>
                  <a:pt x="19507" y="5836"/>
                </a:cubicBezTo>
                <a:cubicBezTo>
                  <a:pt x="19168" y="2918"/>
                  <a:pt x="16966" y="-2311"/>
                  <a:pt x="8751" y="1135"/>
                </a:cubicBezTo>
                <a:cubicBezTo>
                  <a:pt x="4192" y="3048"/>
                  <a:pt x="-1223" y="10588"/>
                  <a:pt x="245" y="15021"/>
                </a:cubicBezTo>
                <a:close/>
              </a:path>
            </a:pathLst>
          </a:custGeom>
          <a:solidFill>
            <a:srgbClr val="8DB1C4">
              <a:alpha val="80000"/>
            </a:srgb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9" name="Figure">
            <a:extLst>
              <a:ext uri="{FF2B5EF4-FFF2-40B4-BE49-F238E27FC236}">
                <a16:creationId xmlns:a16="http://schemas.microsoft.com/office/drawing/2014/main" id="{F853A99F-53BE-43F4-B45A-A2127E017721}"/>
              </a:ext>
            </a:extLst>
          </p:cNvPr>
          <p:cNvSpPr/>
          <p:nvPr userDrawn="1"/>
        </p:nvSpPr>
        <p:spPr>
          <a:xfrm>
            <a:off x="2368461" y="1388997"/>
            <a:ext cx="6998772" cy="48122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9116" extrusionOk="0">
                <a:moveTo>
                  <a:pt x="0" y="7130"/>
                </a:moveTo>
                <a:cubicBezTo>
                  <a:pt x="0" y="12861"/>
                  <a:pt x="8015" y="19116"/>
                  <a:pt x="12433" y="19116"/>
                </a:cubicBezTo>
                <a:cubicBezTo>
                  <a:pt x="16851" y="19116"/>
                  <a:pt x="21600" y="12861"/>
                  <a:pt x="21600" y="7130"/>
                </a:cubicBezTo>
                <a:cubicBezTo>
                  <a:pt x="21600" y="1399"/>
                  <a:pt x="19736" y="-2484"/>
                  <a:pt x="13206" y="1861"/>
                </a:cubicBezTo>
                <a:cubicBezTo>
                  <a:pt x="9285" y="4482"/>
                  <a:pt x="0" y="1399"/>
                  <a:pt x="0" y="7130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0" name="Figure">
            <a:extLst>
              <a:ext uri="{FF2B5EF4-FFF2-40B4-BE49-F238E27FC236}">
                <a16:creationId xmlns:a16="http://schemas.microsoft.com/office/drawing/2014/main" id="{523540BF-0941-4408-B229-3B101068B600}"/>
              </a:ext>
            </a:extLst>
          </p:cNvPr>
          <p:cNvSpPr/>
          <p:nvPr userDrawn="1"/>
        </p:nvSpPr>
        <p:spPr>
          <a:xfrm>
            <a:off x="6730112" y="114053"/>
            <a:ext cx="1313884" cy="11862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8415" h="19060" extrusionOk="0">
                <a:moveTo>
                  <a:pt x="1251" y="17706"/>
                </a:moveTo>
                <a:cubicBezTo>
                  <a:pt x="3633" y="20258"/>
                  <a:pt x="13007" y="19180"/>
                  <a:pt x="16737" y="14651"/>
                </a:cubicBezTo>
                <a:cubicBezTo>
                  <a:pt x="20468" y="10087"/>
                  <a:pt x="17145" y="3797"/>
                  <a:pt x="14794" y="1210"/>
                </a:cubicBezTo>
                <a:cubicBezTo>
                  <a:pt x="12411" y="-1342"/>
                  <a:pt x="7458" y="275"/>
                  <a:pt x="3727" y="4804"/>
                </a:cubicBezTo>
                <a:cubicBezTo>
                  <a:pt x="-3" y="9368"/>
                  <a:pt x="-1132" y="15155"/>
                  <a:pt x="1251" y="17706"/>
                </a:cubicBezTo>
                <a:close/>
              </a:path>
            </a:pathLst>
          </a:custGeom>
          <a:solidFill>
            <a:schemeClr val="accent5">
              <a:alpha val="80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1" name="Figure">
            <a:extLst>
              <a:ext uri="{FF2B5EF4-FFF2-40B4-BE49-F238E27FC236}">
                <a16:creationId xmlns:a16="http://schemas.microsoft.com/office/drawing/2014/main" id="{BD5C64BF-08E2-4135-B576-782BCC1358BD}"/>
              </a:ext>
            </a:extLst>
          </p:cNvPr>
          <p:cNvSpPr/>
          <p:nvPr userDrawn="1"/>
        </p:nvSpPr>
        <p:spPr>
          <a:xfrm>
            <a:off x="1921112" y="4207292"/>
            <a:ext cx="875650" cy="8921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2" name="Figure">
            <a:extLst>
              <a:ext uri="{FF2B5EF4-FFF2-40B4-BE49-F238E27FC236}">
                <a16:creationId xmlns:a16="http://schemas.microsoft.com/office/drawing/2014/main" id="{284B6DC6-7C4D-44E7-9164-F5FAB39BEF1C}"/>
              </a:ext>
            </a:extLst>
          </p:cNvPr>
          <p:cNvSpPr/>
          <p:nvPr userDrawn="1"/>
        </p:nvSpPr>
        <p:spPr>
          <a:xfrm>
            <a:off x="8765547" y="1031118"/>
            <a:ext cx="604493" cy="5757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9A6E0A-A784-4C45-AFF8-2658713EFA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61928" y="2072667"/>
            <a:ext cx="5868144" cy="2387600"/>
          </a:xfrm>
        </p:spPr>
        <p:txBody>
          <a:bodyPr anchor="b"/>
          <a:lstStyle>
            <a:lvl1pPr algn="ctr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C34C85-A365-4BBD-B9CF-8C6283402A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61928" y="4552342"/>
            <a:ext cx="586814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7BA3C7-7567-46E4-A65B-A3825FBDF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E87BA3EB-A381-4334-9C34-E2BAB11D2129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500830-2640-4EEC-B623-30A512C087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8248" y="6356350"/>
            <a:ext cx="3025552" cy="365125"/>
          </a:xfrm>
        </p:spPr>
        <p:txBody>
          <a:bodyPr/>
          <a:lstStyle>
            <a:lvl1pPr algn="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264084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A99D1-0EB2-4F85-B3D4-6C023514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43754"/>
            <a:ext cx="10515600" cy="1197687"/>
          </a:xfrm>
        </p:spPr>
        <p:txBody>
          <a:bodyPr anchor="b"/>
          <a:lstStyle>
            <a:lvl1pPr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55DBC6-1891-4D4E-9B5A-BDCEB78A6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126842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FBD2E-EA4D-44AC-A4BD-0C5AA1711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3B79A1-FC0C-4992-9B56-B5ACA72A94A2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823A92-51DF-4C54-8C80-1CB70C893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992B16-E765-430F-BC89-DE8C32948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E6D3A46D-7F78-4A59-A12D-5EE07C50BFCD}"/>
              </a:ext>
            </a:extLst>
          </p:cNvPr>
          <p:cNvSpPr/>
          <p:nvPr userDrawn="1"/>
        </p:nvSpPr>
        <p:spPr>
          <a:xfrm>
            <a:off x="4874400" y="980564"/>
            <a:ext cx="5337219" cy="5877435"/>
          </a:xfrm>
          <a:custGeom>
            <a:avLst/>
            <a:gdLst>
              <a:gd name="connsiteX0" fmla="*/ 2668564 w 5337219"/>
              <a:gd name="connsiteY0" fmla="*/ 4 h 5877435"/>
              <a:gd name="connsiteX1" fmla="*/ 5298463 w 5337219"/>
              <a:gd name="connsiteY1" fmla="*/ 2313679 h 5877435"/>
              <a:gd name="connsiteX2" fmla="*/ 4814532 w 5337219"/>
              <a:gd name="connsiteY2" fmla="*/ 5839447 h 5877435"/>
              <a:gd name="connsiteX3" fmla="*/ 4792182 w 5337219"/>
              <a:gd name="connsiteY3" fmla="*/ 5877435 h 5877435"/>
              <a:gd name="connsiteX4" fmla="*/ 2010121 w 5337219"/>
              <a:gd name="connsiteY4" fmla="*/ 5877435 h 5877435"/>
              <a:gd name="connsiteX5" fmla="*/ 1990508 w 5337219"/>
              <a:gd name="connsiteY5" fmla="*/ 5861996 h 5877435"/>
              <a:gd name="connsiteX6" fmla="*/ 13028 w 5337219"/>
              <a:gd name="connsiteY6" fmla="*/ 2845602 h 5877435"/>
              <a:gd name="connsiteX7" fmla="*/ 2397045 w 5337219"/>
              <a:gd name="connsiteY7" fmla="*/ 13894 h 5877435"/>
              <a:gd name="connsiteX8" fmla="*/ 2668564 w 5337219"/>
              <a:gd name="connsiteY8" fmla="*/ 4 h 5877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37219" h="5877435">
                <a:moveTo>
                  <a:pt x="2668564" y="4"/>
                </a:moveTo>
                <a:cubicBezTo>
                  <a:pt x="4014395" y="-2472"/>
                  <a:pt x="5165470" y="985268"/>
                  <a:pt x="5298463" y="2313679"/>
                </a:cubicBezTo>
                <a:cubicBezTo>
                  <a:pt x="5395814" y="3287847"/>
                  <a:pt x="5335779" y="4887236"/>
                  <a:pt x="4814532" y="5839447"/>
                </a:cubicBezTo>
                <a:lnTo>
                  <a:pt x="4792182" y="5877435"/>
                </a:lnTo>
                <a:lnTo>
                  <a:pt x="2010121" y="5877435"/>
                </a:lnTo>
                <a:lnTo>
                  <a:pt x="1990508" y="5861996"/>
                </a:lnTo>
                <a:cubicBezTo>
                  <a:pt x="984465" y="5040513"/>
                  <a:pt x="101529" y="3731409"/>
                  <a:pt x="13028" y="2845602"/>
                </a:cubicBezTo>
                <a:cubicBezTo>
                  <a:pt x="-131154" y="1428631"/>
                  <a:pt x="937953" y="160764"/>
                  <a:pt x="2397045" y="13894"/>
                </a:cubicBezTo>
                <a:cubicBezTo>
                  <a:pt x="2488255" y="4735"/>
                  <a:pt x="2578842" y="169"/>
                  <a:pt x="2668564" y="4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3E765F1-E837-4960-9A2B-971A41844935}"/>
              </a:ext>
            </a:extLst>
          </p:cNvPr>
          <p:cNvSpPr/>
          <p:nvPr userDrawn="1"/>
        </p:nvSpPr>
        <p:spPr>
          <a:xfrm>
            <a:off x="3830303" y="2049794"/>
            <a:ext cx="7895563" cy="4808204"/>
          </a:xfrm>
          <a:custGeom>
            <a:avLst/>
            <a:gdLst>
              <a:gd name="connsiteX0" fmla="*/ 5369884 w 7895563"/>
              <a:gd name="connsiteY0" fmla="*/ 1078 h 4808204"/>
              <a:gd name="connsiteX1" fmla="*/ 7862727 w 7895563"/>
              <a:gd name="connsiteY1" fmla="*/ 1675871 h 4808204"/>
              <a:gd name="connsiteX2" fmla="*/ 5732088 w 7895563"/>
              <a:gd name="connsiteY2" fmla="*/ 4760070 h 4808204"/>
              <a:gd name="connsiteX3" fmla="*/ 5620342 w 7895563"/>
              <a:gd name="connsiteY3" fmla="*/ 4808204 h 4808204"/>
              <a:gd name="connsiteX4" fmla="*/ 549240 w 7895563"/>
              <a:gd name="connsiteY4" fmla="*/ 4808204 h 4808204"/>
              <a:gd name="connsiteX5" fmla="*/ 486839 w 7895563"/>
              <a:gd name="connsiteY5" fmla="*/ 4767416 h 4808204"/>
              <a:gd name="connsiteX6" fmla="*/ 98819 w 7895563"/>
              <a:gd name="connsiteY6" fmla="*/ 4313512 h 4808204"/>
              <a:gd name="connsiteX7" fmla="*/ 3527321 w 7895563"/>
              <a:gd name="connsiteY7" fmla="*/ 325893 h 4808204"/>
              <a:gd name="connsiteX8" fmla="*/ 5369884 w 7895563"/>
              <a:gd name="connsiteY8" fmla="*/ 1078 h 4808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895563" h="4808204">
                <a:moveTo>
                  <a:pt x="5369884" y="1078"/>
                </a:moveTo>
                <a:cubicBezTo>
                  <a:pt x="7190903" y="-38494"/>
                  <a:pt x="7755976" y="1021217"/>
                  <a:pt x="7862727" y="1675871"/>
                </a:cubicBezTo>
                <a:cubicBezTo>
                  <a:pt x="8103812" y="3154214"/>
                  <a:pt x="6979491" y="4179076"/>
                  <a:pt x="5732088" y="4760070"/>
                </a:cubicBezTo>
                <a:lnTo>
                  <a:pt x="5620342" y="4808204"/>
                </a:lnTo>
                <a:lnTo>
                  <a:pt x="549240" y="4808204"/>
                </a:lnTo>
                <a:lnTo>
                  <a:pt x="486839" y="4767416"/>
                </a:lnTo>
                <a:cubicBezTo>
                  <a:pt x="312414" y="4637640"/>
                  <a:pt x="179004" y="4486459"/>
                  <a:pt x="98819" y="4313512"/>
                </a:cubicBezTo>
                <a:cubicBezTo>
                  <a:pt x="-492886" y="3040495"/>
                  <a:pt x="1689731" y="875246"/>
                  <a:pt x="3527321" y="325893"/>
                </a:cubicBezTo>
                <a:cubicBezTo>
                  <a:pt x="4251648" y="109422"/>
                  <a:pt x="4859999" y="12158"/>
                  <a:pt x="5369884" y="1078"/>
                </a:cubicBezTo>
                <a:close/>
              </a:path>
            </a:pathLst>
          </a:custGeom>
          <a:solidFill>
            <a:srgbClr val="8DB1C4">
              <a:alpha val="80000"/>
            </a:srgb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5" name="Figure">
            <a:extLst>
              <a:ext uri="{FF2B5EF4-FFF2-40B4-BE49-F238E27FC236}">
                <a16:creationId xmlns:a16="http://schemas.microsoft.com/office/drawing/2014/main" id="{7B0794A8-5CB9-4466-B2A1-B736C2408414}"/>
              </a:ext>
            </a:extLst>
          </p:cNvPr>
          <p:cNvSpPr/>
          <p:nvPr userDrawn="1"/>
        </p:nvSpPr>
        <p:spPr>
          <a:xfrm>
            <a:off x="3208844" y="1651975"/>
            <a:ext cx="7779006" cy="53487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9116" extrusionOk="0">
                <a:moveTo>
                  <a:pt x="0" y="7130"/>
                </a:moveTo>
                <a:cubicBezTo>
                  <a:pt x="0" y="12861"/>
                  <a:pt x="8015" y="19116"/>
                  <a:pt x="12433" y="19116"/>
                </a:cubicBezTo>
                <a:cubicBezTo>
                  <a:pt x="16851" y="19116"/>
                  <a:pt x="21600" y="12861"/>
                  <a:pt x="21600" y="7130"/>
                </a:cubicBezTo>
                <a:cubicBezTo>
                  <a:pt x="21600" y="1399"/>
                  <a:pt x="19736" y="-2484"/>
                  <a:pt x="13206" y="1861"/>
                </a:cubicBezTo>
                <a:cubicBezTo>
                  <a:pt x="9285" y="4482"/>
                  <a:pt x="0" y="1399"/>
                  <a:pt x="0" y="7130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7" name="Figure">
            <a:extLst>
              <a:ext uri="{FF2B5EF4-FFF2-40B4-BE49-F238E27FC236}">
                <a16:creationId xmlns:a16="http://schemas.microsoft.com/office/drawing/2014/main" id="{B833C6E6-D2AD-4F4D-A36B-8F197824B45A}"/>
              </a:ext>
            </a:extLst>
          </p:cNvPr>
          <p:cNvSpPr/>
          <p:nvPr userDrawn="1"/>
        </p:nvSpPr>
        <p:spPr>
          <a:xfrm>
            <a:off x="10319088" y="1254199"/>
            <a:ext cx="671883" cy="6399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3" name="Figure">
            <a:extLst>
              <a:ext uri="{FF2B5EF4-FFF2-40B4-BE49-F238E27FC236}">
                <a16:creationId xmlns:a16="http://schemas.microsoft.com/office/drawing/2014/main" id="{43D2B85A-0851-443A-B2F7-A5A2AC52A21C}"/>
              </a:ext>
            </a:extLst>
          </p:cNvPr>
          <p:cNvSpPr/>
          <p:nvPr userDrawn="1"/>
        </p:nvSpPr>
        <p:spPr>
          <a:xfrm>
            <a:off x="2711624" y="4784458"/>
            <a:ext cx="973269" cy="9916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bg2">
              <a:alpha val="15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18636181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 w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A99D1-0EB2-4F85-B3D4-6C023514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43754"/>
            <a:ext cx="10515600" cy="1197687"/>
          </a:xfrm>
        </p:spPr>
        <p:txBody>
          <a:bodyPr anchor="b"/>
          <a:lstStyle>
            <a:lvl1pPr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55DBC6-1891-4D4E-9B5A-BDCEB78A6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126842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FBD2E-EA4D-44AC-A4BD-0C5AA1711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4D014-3EE1-4FB7-8E51-20528F8C27EF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823A92-51DF-4C54-8C80-1CB70C893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992B16-E765-430F-BC89-DE8C32948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CA2A693-AE58-4C41-825A-D32BC0811ACB}"/>
              </a:ext>
            </a:extLst>
          </p:cNvPr>
          <p:cNvSpPr/>
          <p:nvPr userDrawn="1"/>
        </p:nvSpPr>
        <p:spPr>
          <a:xfrm>
            <a:off x="4874400" y="980564"/>
            <a:ext cx="5337219" cy="5877435"/>
          </a:xfrm>
          <a:custGeom>
            <a:avLst/>
            <a:gdLst>
              <a:gd name="connsiteX0" fmla="*/ 2668564 w 5337219"/>
              <a:gd name="connsiteY0" fmla="*/ 4 h 5877435"/>
              <a:gd name="connsiteX1" fmla="*/ 5298463 w 5337219"/>
              <a:gd name="connsiteY1" fmla="*/ 2313679 h 5877435"/>
              <a:gd name="connsiteX2" fmla="*/ 4814532 w 5337219"/>
              <a:gd name="connsiteY2" fmla="*/ 5839447 h 5877435"/>
              <a:gd name="connsiteX3" fmla="*/ 4792182 w 5337219"/>
              <a:gd name="connsiteY3" fmla="*/ 5877435 h 5877435"/>
              <a:gd name="connsiteX4" fmla="*/ 2010121 w 5337219"/>
              <a:gd name="connsiteY4" fmla="*/ 5877435 h 5877435"/>
              <a:gd name="connsiteX5" fmla="*/ 1990508 w 5337219"/>
              <a:gd name="connsiteY5" fmla="*/ 5861996 h 5877435"/>
              <a:gd name="connsiteX6" fmla="*/ 13028 w 5337219"/>
              <a:gd name="connsiteY6" fmla="*/ 2845602 h 5877435"/>
              <a:gd name="connsiteX7" fmla="*/ 2397045 w 5337219"/>
              <a:gd name="connsiteY7" fmla="*/ 13894 h 5877435"/>
              <a:gd name="connsiteX8" fmla="*/ 2668564 w 5337219"/>
              <a:gd name="connsiteY8" fmla="*/ 4 h 5877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37219" h="5877435">
                <a:moveTo>
                  <a:pt x="2668564" y="4"/>
                </a:moveTo>
                <a:cubicBezTo>
                  <a:pt x="4014395" y="-2472"/>
                  <a:pt x="5165470" y="985268"/>
                  <a:pt x="5298463" y="2313679"/>
                </a:cubicBezTo>
                <a:cubicBezTo>
                  <a:pt x="5395814" y="3287847"/>
                  <a:pt x="5335779" y="4887236"/>
                  <a:pt x="4814532" y="5839447"/>
                </a:cubicBezTo>
                <a:lnTo>
                  <a:pt x="4792182" y="5877435"/>
                </a:lnTo>
                <a:lnTo>
                  <a:pt x="2010121" y="5877435"/>
                </a:lnTo>
                <a:lnTo>
                  <a:pt x="1990508" y="5861996"/>
                </a:lnTo>
                <a:cubicBezTo>
                  <a:pt x="984465" y="5040513"/>
                  <a:pt x="101529" y="3731409"/>
                  <a:pt x="13028" y="2845602"/>
                </a:cubicBezTo>
                <a:cubicBezTo>
                  <a:pt x="-131154" y="1428631"/>
                  <a:pt x="937953" y="160764"/>
                  <a:pt x="2397045" y="13894"/>
                </a:cubicBezTo>
                <a:cubicBezTo>
                  <a:pt x="2488255" y="4735"/>
                  <a:pt x="2578842" y="169"/>
                  <a:pt x="2668564" y="4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F82D26C-ABC8-4121-9D52-27E8B77173C3}"/>
              </a:ext>
            </a:extLst>
          </p:cNvPr>
          <p:cNvSpPr/>
          <p:nvPr userDrawn="1"/>
        </p:nvSpPr>
        <p:spPr>
          <a:xfrm>
            <a:off x="3830303" y="2049794"/>
            <a:ext cx="7895563" cy="4808204"/>
          </a:xfrm>
          <a:custGeom>
            <a:avLst/>
            <a:gdLst>
              <a:gd name="connsiteX0" fmla="*/ 5369884 w 7895563"/>
              <a:gd name="connsiteY0" fmla="*/ 1078 h 4808204"/>
              <a:gd name="connsiteX1" fmla="*/ 7862727 w 7895563"/>
              <a:gd name="connsiteY1" fmla="*/ 1675871 h 4808204"/>
              <a:gd name="connsiteX2" fmla="*/ 5732088 w 7895563"/>
              <a:gd name="connsiteY2" fmla="*/ 4760070 h 4808204"/>
              <a:gd name="connsiteX3" fmla="*/ 5620342 w 7895563"/>
              <a:gd name="connsiteY3" fmla="*/ 4808204 h 4808204"/>
              <a:gd name="connsiteX4" fmla="*/ 549240 w 7895563"/>
              <a:gd name="connsiteY4" fmla="*/ 4808204 h 4808204"/>
              <a:gd name="connsiteX5" fmla="*/ 486839 w 7895563"/>
              <a:gd name="connsiteY5" fmla="*/ 4767416 h 4808204"/>
              <a:gd name="connsiteX6" fmla="*/ 98819 w 7895563"/>
              <a:gd name="connsiteY6" fmla="*/ 4313512 h 4808204"/>
              <a:gd name="connsiteX7" fmla="*/ 3527321 w 7895563"/>
              <a:gd name="connsiteY7" fmla="*/ 325893 h 4808204"/>
              <a:gd name="connsiteX8" fmla="*/ 5369884 w 7895563"/>
              <a:gd name="connsiteY8" fmla="*/ 1078 h 4808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895563" h="4808204">
                <a:moveTo>
                  <a:pt x="5369884" y="1078"/>
                </a:moveTo>
                <a:cubicBezTo>
                  <a:pt x="7190903" y="-38494"/>
                  <a:pt x="7755976" y="1021217"/>
                  <a:pt x="7862727" y="1675871"/>
                </a:cubicBezTo>
                <a:cubicBezTo>
                  <a:pt x="8103812" y="3154214"/>
                  <a:pt x="6979491" y="4179076"/>
                  <a:pt x="5732088" y="4760070"/>
                </a:cubicBezTo>
                <a:lnTo>
                  <a:pt x="5620342" y="4808204"/>
                </a:lnTo>
                <a:lnTo>
                  <a:pt x="549240" y="4808204"/>
                </a:lnTo>
                <a:lnTo>
                  <a:pt x="486839" y="4767416"/>
                </a:lnTo>
                <a:cubicBezTo>
                  <a:pt x="312414" y="4637640"/>
                  <a:pt x="179004" y="4486459"/>
                  <a:pt x="98819" y="4313512"/>
                </a:cubicBezTo>
                <a:cubicBezTo>
                  <a:pt x="-492886" y="3040495"/>
                  <a:pt x="1689731" y="875246"/>
                  <a:pt x="3527321" y="325893"/>
                </a:cubicBezTo>
                <a:cubicBezTo>
                  <a:pt x="4251648" y="109422"/>
                  <a:pt x="4859999" y="12158"/>
                  <a:pt x="5369884" y="1078"/>
                </a:cubicBezTo>
                <a:close/>
              </a:path>
            </a:pathLst>
          </a:custGeom>
          <a:solidFill>
            <a:srgbClr val="8DB1C4">
              <a:alpha val="80000"/>
            </a:srgb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6" name="Figure">
            <a:extLst>
              <a:ext uri="{FF2B5EF4-FFF2-40B4-BE49-F238E27FC236}">
                <a16:creationId xmlns:a16="http://schemas.microsoft.com/office/drawing/2014/main" id="{80A40D36-2BD3-4F77-92AA-A95427EF3D43}"/>
              </a:ext>
            </a:extLst>
          </p:cNvPr>
          <p:cNvSpPr/>
          <p:nvPr userDrawn="1"/>
        </p:nvSpPr>
        <p:spPr>
          <a:xfrm>
            <a:off x="2711624" y="4784458"/>
            <a:ext cx="973269" cy="9916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bg2">
              <a:alpha val="15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7" name="Figure">
            <a:extLst>
              <a:ext uri="{FF2B5EF4-FFF2-40B4-BE49-F238E27FC236}">
                <a16:creationId xmlns:a16="http://schemas.microsoft.com/office/drawing/2014/main" id="{B833C6E6-D2AD-4F4D-A36B-8F197824B45A}"/>
              </a:ext>
            </a:extLst>
          </p:cNvPr>
          <p:cNvSpPr/>
          <p:nvPr userDrawn="1"/>
        </p:nvSpPr>
        <p:spPr>
          <a:xfrm>
            <a:off x="10319088" y="1254199"/>
            <a:ext cx="671883" cy="6399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9B1E94F-6B0A-4BB6-BFB9-6DB8090FBA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08844" y="1651909"/>
            <a:ext cx="7779006" cy="5206089"/>
          </a:xfrm>
          <a:custGeom>
            <a:avLst/>
            <a:gdLst>
              <a:gd name="connsiteX0" fmla="*/ 6499213 w 7779006"/>
              <a:gd name="connsiteY0" fmla="*/ 1020 h 5206089"/>
              <a:gd name="connsiteX1" fmla="*/ 7779006 w 7779006"/>
              <a:gd name="connsiteY1" fmla="*/ 1995083 h 5206089"/>
              <a:gd name="connsiteX2" fmla="*/ 5373114 w 7779006"/>
              <a:gd name="connsiteY2" fmla="*/ 5176751 h 5206089"/>
              <a:gd name="connsiteX3" fmla="*/ 5288242 w 7779006"/>
              <a:gd name="connsiteY3" fmla="*/ 5206089 h 5206089"/>
              <a:gd name="connsiteX4" fmla="*/ 3576433 w 7779006"/>
              <a:gd name="connsiteY4" fmla="*/ 5206089 h 5206089"/>
              <a:gd name="connsiteX5" fmla="*/ 3473560 w 7779006"/>
              <a:gd name="connsiteY5" fmla="*/ 5176751 h 5206089"/>
              <a:gd name="connsiteX6" fmla="*/ 0 w 7779006"/>
              <a:gd name="connsiteY6" fmla="*/ 1995083 h 5206089"/>
              <a:gd name="connsiteX7" fmla="*/ 4755998 w 7779006"/>
              <a:gd name="connsiteY7" fmla="*/ 520786 h 5206089"/>
              <a:gd name="connsiteX8" fmla="*/ 6499213 w 7779006"/>
              <a:gd name="connsiteY8" fmla="*/ 1020 h 5206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779006" h="5206089">
                <a:moveTo>
                  <a:pt x="6499213" y="1020"/>
                </a:moveTo>
                <a:cubicBezTo>
                  <a:pt x="7461712" y="34580"/>
                  <a:pt x="7779006" y="892631"/>
                  <a:pt x="7779006" y="1995083"/>
                </a:cubicBezTo>
                <a:cubicBezTo>
                  <a:pt x="7779006" y="3297982"/>
                  <a:pt x="6649940" y="4697672"/>
                  <a:pt x="5373114" y="5176751"/>
                </a:cubicBezTo>
                <a:lnTo>
                  <a:pt x="5288242" y="5206089"/>
                </a:lnTo>
                <a:lnTo>
                  <a:pt x="3576433" y="5206089"/>
                </a:lnTo>
                <a:lnTo>
                  <a:pt x="3473560" y="5176751"/>
                </a:lnTo>
                <a:cubicBezTo>
                  <a:pt x="1905552" y="4697672"/>
                  <a:pt x="0" y="3297982"/>
                  <a:pt x="0" y="1995083"/>
                </a:cubicBezTo>
                <a:cubicBezTo>
                  <a:pt x="0" y="391516"/>
                  <a:pt x="3343892" y="1254157"/>
                  <a:pt x="4755998" y="520786"/>
                </a:cubicBezTo>
                <a:cubicBezTo>
                  <a:pt x="5490907" y="140862"/>
                  <a:pt x="6061713" y="-14234"/>
                  <a:pt x="6499213" y="102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tIns="1645920" anchor="t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9534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 w Photo (bis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A99D1-0EB2-4F85-B3D4-6C023514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405909"/>
            <a:ext cx="10515600" cy="1197687"/>
          </a:xfrm>
        </p:spPr>
        <p:txBody>
          <a:bodyPr anchor="b"/>
          <a:lstStyle>
            <a:lvl1pPr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55DBC6-1891-4D4E-9B5A-BDCEB78A6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163058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FBD2E-EA4D-44AC-A4BD-0C5AA1711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0C580-F2DB-448F-9834-41649517B857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823A92-51DF-4C54-8C80-1CB70C893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992B16-E765-430F-BC89-DE8C32948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09E196A-2B73-4233-A237-4B183A27C60C}"/>
              </a:ext>
            </a:extLst>
          </p:cNvPr>
          <p:cNvSpPr/>
          <p:nvPr userDrawn="1"/>
        </p:nvSpPr>
        <p:spPr>
          <a:xfrm>
            <a:off x="4874400" y="980564"/>
            <a:ext cx="5337219" cy="5877435"/>
          </a:xfrm>
          <a:custGeom>
            <a:avLst/>
            <a:gdLst>
              <a:gd name="connsiteX0" fmla="*/ 2668564 w 5337219"/>
              <a:gd name="connsiteY0" fmla="*/ 4 h 5877435"/>
              <a:gd name="connsiteX1" fmla="*/ 5298463 w 5337219"/>
              <a:gd name="connsiteY1" fmla="*/ 2313679 h 5877435"/>
              <a:gd name="connsiteX2" fmla="*/ 4814532 w 5337219"/>
              <a:gd name="connsiteY2" fmla="*/ 5839447 h 5877435"/>
              <a:gd name="connsiteX3" fmla="*/ 4792182 w 5337219"/>
              <a:gd name="connsiteY3" fmla="*/ 5877435 h 5877435"/>
              <a:gd name="connsiteX4" fmla="*/ 2010121 w 5337219"/>
              <a:gd name="connsiteY4" fmla="*/ 5877435 h 5877435"/>
              <a:gd name="connsiteX5" fmla="*/ 1990508 w 5337219"/>
              <a:gd name="connsiteY5" fmla="*/ 5861996 h 5877435"/>
              <a:gd name="connsiteX6" fmla="*/ 13028 w 5337219"/>
              <a:gd name="connsiteY6" fmla="*/ 2845602 h 5877435"/>
              <a:gd name="connsiteX7" fmla="*/ 2397045 w 5337219"/>
              <a:gd name="connsiteY7" fmla="*/ 13894 h 5877435"/>
              <a:gd name="connsiteX8" fmla="*/ 2668564 w 5337219"/>
              <a:gd name="connsiteY8" fmla="*/ 4 h 5877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37219" h="5877435">
                <a:moveTo>
                  <a:pt x="2668564" y="4"/>
                </a:moveTo>
                <a:cubicBezTo>
                  <a:pt x="4014395" y="-2472"/>
                  <a:pt x="5165470" y="985268"/>
                  <a:pt x="5298463" y="2313679"/>
                </a:cubicBezTo>
                <a:cubicBezTo>
                  <a:pt x="5395814" y="3287847"/>
                  <a:pt x="5335779" y="4887236"/>
                  <a:pt x="4814532" y="5839447"/>
                </a:cubicBezTo>
                <a:lnTo>
                  <a:pt x="4792182" y="5877435"/>
                </a:lnTo>
                <a:lnTo>
                  <a:pt x="2010121" y="5877435"/>
                </a:lnTo>
                <a:lnTo>
                  <a:pt x="1990508" y="5861996"/>
                </a:lnTo>
                <a:cubicBezTo>
                  <a:pt x="984465" y="5040513"/>
                  <a:pt x="101529" y="3731409"/>
                  <a:pt x="13028" y="2845602"/>
                </a:cubicBezTo>
                <a:cubicBezTo>
                  <a:pt x="-131154" y="1428631"/>
                  <a:pt x="937953" y="160764"/>
                  <a:pt x="2397045" y="13894"/>
                </a:cubicBezTo>
                <a:cubicBezTo>
                  <a:pt x="2488255" y="4735"/>
                  <a:pt x="2578842" y="169"/>
                  <a:pt x="2668564" y="4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A7148EA-E1BB-48D0-8BFB-BE2CA7C08F52}"/>
              </a:ext>
            </a:extLst>
          </p:cNvPr>
          <p:cNvSpPr/>
          <p:nvPr userDrawn="1"/>
        </p:nvSpPr>
        <p:spPr>
          <a:xfrm>
            <a:off x="3830303" y="2049794"/>
            <a:ext cx="7895563" cy="4808204"/>
          </a:xfrm>
          <a:custGeom>
            <a:avLst/>
            <a:gdLst>
              <a:gd name="connsiteX0" fmla="*/ 5369884 w 7895563"/>
              <a:gd name="connsiteY0" fmla="*/ 1078 h 4808204"/>
              <a:gd name="connsiteX1" fmla="*/ 7862727 w 7895563"/>
              <a:gd name="connsiteY1" fmla="*/ 1675871 h 4808204"/>
              <a:gd name="connsiteX2" fmla="*/ 5732088 w 7895563"/>
              <a:gd name="connsiteY2" fmla="*/ 4760070 h 4808204"/>
              <a:gd name="connsiteX3" fmla="*/ 5620342 w 7895563"/>
              <a:gd name="connsiteY3" fmla="*/ 4808204 h 4808204"/>
              <a:gd name="connsiteX4" fmla="*/ 549240 w 7895563"/>
              <a:gd name="connsiteY4" fmla="*/ 4808204 h 4808204"/>
              <a:gd name="connsiteX5" fmla="*/ 486839 w 7895563"/>
              <a:gd name="connsiteY5" fmla="*/ 4767416 h 4808204"/>
              <a:gd name="connsiteX6" fmla="*/ 98819 w 7895563"/>
              <a:gd name="connsiteY6" fmla="*/ 4313512 h 4808204"/>
              <a:gd name="connsiteX7" fmla="*/ 3527321 w 7895563"/>
              <a:gd name="connsiteY7" fmla="*/ 325893 h 4808204"/>
              <a:gd name="connsiteX8" fmla="*/ 5369884 w 7895563"/>
              <a:gd name="connsiteY8" fmla="*/ 1078 h 4808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895563" h="4808204">
                <a:moveTo>
                  <a:pt x="5369884" y="1078"/>
                </a:moveTo>
                <a:cubicBezTo>
                  <a:pt x="7190903" y="-38494"/>
                  <a:pt x="7755976" y="1021217"/>
                  <a:pt x="7862727" y="1675871"/>
                </a:cubicBezTo>
                <a:cubicBezTo>
                  <a:pt x="8103812" y="3154214"/>
                  <a:pt x="6979491" y="4179076"/>
                  <a:pt x="5732088" y="4760070"/>
                </a:cubicBezTo>
                <a:lnTo>
                  <a:pt x="5620342" y="4808204"/>
                </a:lnTo>
                <a:lnTo>
                  <a:pt x="549240" y="4808204"/>
                </a:lnTo>
                <a:lnTo>
                  <a:pt x="486839" y="4767416"/>
                </a:lnTo>
                <a:cubicBezTo>
                  <a:pt x="312414" y="4637640"/>
                  <a:pt x="179004" y="4486459"/>
                  <a:pt x="98819" y="4313512"/>
                </a:cubicBezTo>
                <a:cubicBezTo>
                  <a:pt x="-492886" y="3040495"/>
                  <a:pt x="1689731" y="875246"/>
                  <a:pt x="3527321" y="325893"/>
                </a:cubicBezTo>
                <a:cubicBezTo>
                  <a:pt x="4251648" y="109422"/>
                  <a:pt x="4859999" y="12158"/>
                  <a:pt x="5369884" y="1078"/>
                </a:cubicBezTo>
                <a:close/>
              </a:path>
            </a:pathLst>
          </a:custGeom>
          <a:solidFill>
            <a:srgbClr val="8DB1C4">
              <a:alpha val="80000"/>
            </a:srgb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6" name="Figure">
            <a:extLst>
              <a:ext uri="{FF2B5EF4-FFF2-40B4-BE49-F238E27FC236}">
                <a16:creationId xmlns:a16="http://schemas.microsoft.com/office/drawing/2014/main" id="{80A40D36-2BD3-4F77-92AA-A95427EF3D43}"/>
              </a:ext>
            </a:extLst>
          </p:cNvPr>
          <p:cNvSpPr/>
          <p:nvPr userDrawn="1"/>
        </p:nvSpPr>
        <p:spPr>
          <a:xfrm>
            <a:off x="2711624" y="4784458"/>
            <a:ext cx="973269" cy="9916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bg2">
              <a:alpha val="15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7" name="Figure">
            <a:extLst>
              <a:ext uri="{FF2B5EF4-FFF2-40B4-BE49-F238E27FC236}">
                <a16:creationId xmlns:a16="http://schemas.microsoft.com/office/drawing/2014/main" id="{B833C6E6-D2AD-4F4D-A36B-8F197824B45A}"/>
              </a:ext>
            </a:extLst>
          </p:cNvPr>
          <p:cNvSpPr/>
          <p:nvPr userDrawn="1"/>
        </p:nvSpPr>
        <p:spPr>
          <a:xfrm>
            <a:off x="10319088" y="1254199"/>
            <a:ext cx="671883" cy="6399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6588FD2-164B-4DDE-9260-E265174166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08844" y="1651909"/>
            <a:ext cx="7779006" cy="5206089"/>
          </a:xfrm>
          <a:custGeom>
            <a:avLst/>
            <a:gdLst>
              <a:gd name="connsiteX0" fmla="*/ 6499213 w 7779006"/>
              <a:gd name="connsiteY0" fmla="*/ 1020 h 5206089"/>
              <a:gd name="connsiteX1" fmla="*/ 7779006 w 7779006"/>
              <a:gd name="connsiteY1" fmla="*/ 1995083 h 5206089"/>
              <a:gd name="connsiteX2" fmla="*/ 5373114 w 7779006"/>
              <a:gd name="connsiteY2" fmla="*/ 5176751 h 5206089"/>
              <a:gd name="connsiteX3" fmla="*/ 5288242 w 7779006"/>
              <a:gd name="connsiteY3" fmla="*/ 5206089 h 5206089"/>
              <a:gd name="connsiteX4" fmla="*/ 3576433 w 7779006"/>
              <a:gd name="connsiteY4" fmla="*/ 5206089 h 5206089"/>
              <a:gd name="connsiteX5" fmla="*/ 3473560 w 7779006"/>
              <a:gd name="connsiteY5" fmla="*/ 5176751 h 5206089"/>
              <a:gd name="connsiteX6" fmla="*/ 0 w 7779006"/>
              <a:gd name="connsiteY6" fmla="*/ 1995083 h 5206089"/>
              <a:gd name="connsiteX7" fmla="*/ 4755998 w 7779006"/>
              <a:gd name="connsiteY7" fmla="*/ 520786 h 5206089"/>
              <a:gd name="connsiteX8" fmla="*/ 6499213 w 7779006"/>
              <a:gd name="connsiteY8" fmla="*/ 1020 h 5206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779006" h="5206089">
                <a:moveTo>
                  <a:pt x="6499213" y="1020"/>
                </a:moveTo>
                <a:cubicBezTo>
                  <a:pt x="7461712" y="34580"/>
                  <a:pt x="7779006" y="892631"/>
                  <a:pt x="7779006" y="1995083"/>
                </a:cubicBezTo>
                <a:cubicBezTo>
                  <a:pt x="7779006" y="3297982"/>
                  <a:pt x="6649940" y="4697672"/>
                  <a:pt x="5373114" y="5176751"/>
                </a:cubicBezTo>
                <a:lnTo>
                  <a:pt x="5288242" y="5206089"/>
                </a:lnTo>
                <a:lnTo>
                  <a:pt x="3576433" y="5206089"/>
                </a:lnTo>
                <a:lnTo>
                  <a:pt x="3473560" y="5176751"/>
                </a:lnTo>
                <a:cubicBezTo>
                  <a:pt x="1905552" y="4697672"/>
                  <a:pt x="0" y="3297982"/>
                  <a:pt x="0" y="1995083"/>
                </a:cubicBezTo>
                <a:cubicBezTo>
                  <a:pt x="0" y="391516"/>
                  <a:pt x="3343892" y="1254157"/>
                  <a:pt x="4755998" y="520786"/>
                </a:cubicBezTo>
                <a:cubicBezTo>
                  <a:pt x="5490907" y="140862"/>
                  <a:pt x="6061713" y="-14234"/>
                  <a:pt x="6499213" y="102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tIns="1645920" anchor="t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5326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823A92-51DF-4C54-8C80-1CB70C893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6093E40-6F04-4491-9C8D-06005D9BB3A5}"/>
              </a:ext>
            </a:extLst>
          </p:cNvPr>
          <p:cNvGrpSpPr/>
          <p:nvPr userDrawn="1"/>
        </p:nvGrpSpPr>
        <p:grpSpPr>
          <a:xfrm>
            <a:off x="41945" y="620688"/>
            <a:ext cx="12102727" cy="6237315"/>
            <a:chOff x="695401" y="1241443"/>
            <a:chExt cx="10898227" cy="5616559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E9CB3F7-3ABC-4104-B98A-0121ACF534AE}"/>
                </a:ext>
              </a:extLst>
            </p:cNvPr>
            <p:cNvSpPr/>
            <p:nvPr userDrawn="1"/>
          </p:nvSpPr>
          <p:spPr>
            <a:xfrm>
              <a:off x="1490608" y="1750568"/>
              <a:ext cx="10103020" cy="5107432"/>
            </a:xfrm>
            <a:custGeom>
              <a:avLst/>
              <a:gdLst>
                <a:gd name="connsiteX0" fmla="*/ 6871207 w 10103020"/>
                <a:gd name="connsiteY0" fmla="*/ 1379 h 5107432"/>
                <a:gd name="connsiteX1" fmla="*/ 10061003 w 10103020"/>
                <a:gd name="connsiteY1" fmla="*/ 2144415 h 5107432"/>
                <a:gd name="connsiteX2" fmla="*/ 8937022 w 10103020"/>
                <a:gd name="connsiteY2" fmla="*/ 5053985 h 5107432"/>
                <a:gd name="connsiteX3" fmla="*/ 8872567 w 10103020"/>
                <a:gd name="connsiteY3" fmla="*/ 5107432 h 5107432"/>
                <a:gd name="connsiteX4" fmla="*/ 13161 w 10103020"/>
                <a:gd name="connsiteY4" fmla="*/ 5107432 h 5107432"/>
                <a:gd name="connsiteX5" fmla="*/ 3817 w 10103020"/>
                <a:gd name="connsiteY5" fmla="*/ 5033897 h 5107432"/>
                <a:gd name="connsiteX6" fmla="*/ 4513496 w 10103020"/>
                <a:gd name="connsiteY6" fmla="*/ 417007 h 5107432"/>
                <a:gd name="connsiteX7" fmla="*/ 6871207 w 10103020"/>
                <a:gd name="connsiteY7" fmla="*/ 1379 h 5107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03020" h="5107432">
                  <a:moveTo>
                    <a:pt x="6871207" y="1379"/>
                  </a:moveTo>
                  <a:cubicBezTo>
                    <a:pt x="9201349" y="-49256"/>
                    <a:pt x="9924407" y="1306731"/>
                    <a:pt x="10061003" y="2144415"/>
                  </a:cubicBezTo>
                  <a:cubicBezTo>
                    <a:pt x="10257314" y="3348198"/>
                    <a:pt x="9746101" y="4316998"/>
                    <a:pt x="8937022" y="5053985"/>
                  </a:cubicBezTo>
                  <a:lnTo>
                    <a:pt x="8872567" y="5107432"/>
                  </a:lnTo>
                  <a:lnTo>
                    <a:pt x="13161" y="5107432"/>
                  </a:lnTo>
                  <a:lnTo>
                    <a:pt x="3817" y="5033897"/>
                  </a:lnTo>
                  <a:cubicBezTo>
                    <a:pt x="-110911" y="3389245"/>
                    <a:pt x="2382588" y="1054048"/>
                    <a:pt x="4513496" y="417007"/>
                  </a:cubicBezTo>
                  <a:cubicBezTo>
                    <a:pt x="5440331" y="140015"/>
                    <a:pt x="6218767" y="15557"/>
                    <a:pt x="6871207" y="1379"/>
                  </a:cubicBezTo>
                  <a:close/>
                </a:path>
              </a:pathLst>
            </a:custGeom>
            <a:solidFill>
              <a:srgbClr val="8DB1C4">
                <a:alpha val="80000"/>
              </a:srgb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ctr" defTabSz="457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481A0AE-40AD-4CC1-89EF-16D86FD8CD17}"/>
                </a:ext>
              </a:extLst>
            </p:cNvPr>
            <p:cNvSpPr/>
            <p:nvPr userDrawn="1"/>
          </p:nvSpPr>
          <p:spPr>
            <a:xfrm>
              <a:off x="695401" y="1241443"/>
              <a:ext cx="9953877" cy="5616559"/>
            </a:xfrm>
            <a:custGeom>
              <a:avLst/>
              <a:gdLst>
                <a:gd name="connsiteX0" fmla="*/ 8316277 w 9953877"/>
                <a:gd name="connsiteY0" fmla="*/ 1305 h 5616559"/>
                <a:gd name="connsiteX1" fmla="*/ 9953877 w 9953877"/>
                <a:gd name="connsiteY1" fmla="*/ 2552872 h 5616559"/>
                <a:gd name="connsiteX2" fmla="*/ 8605150 w 9953877"/>
                <a:gd name="connsiteY2" fmla="*/ 5468034 h 5616559"/>
                <a:gd name="connsiteX3" fmla="*/ 8447294 w 9953877"/>
                <a:gd name="connsiteY3" fmla="*/ 5616559 h 5616559"/>
                <a:gd name="connsiteX4" fmla="*/ 2330142 w 9953877"/>
                <a:gd name="connsiteY4" fmla="*/ 5616559 h 5616559"/>
                <a:gd name="connsiteX5" fmla="*/ 2101259 w 9953877"/>
                <a:gd name="connsiteY5" fmla="*/ 5468034 h 5616559"/>
                <a:gd name="connsiteX6" fmla="*/ 0 w 9953877"/>
                <a:gd name="connsiteY6" fmla="*/ 2552872 h 5616559"/>
                <a:gd name="connsiteX7" fmla="*/ 6085691 w 9953877"/>
                <a:gd name="connsiteY7" fmla="*/ 666388 h 5616559"/>
                <a:gd name="connsiteX8" fmla="*/ 8316277 w 9953877"/>
                <a:gd name="connsiteY8" fmla="*/ 1305 h 5616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53877" h="5616559">
                  <a:moveTo>
                    <a:pt x="8316277" y="1305"/>
                  </a:moveTo>
                  <a:cubicBezTo>
                    <a:pt x="9547873" y="44247"/>
                    <a:pt x="9953877" y="1142193"/>
                    <a:pt x="9953877" y="2552872"/>
                  </a:cubicBezTo>
                  <a:cubicBezTo>
                    <a:pt x="9953877" y="3578820"/>
                    <a:pt x="9406759" y="4651671"/>
                    <a:pt x="8605150" y="5468034"/>
                  </a:cubicBezTo>
                  <a:lnTo>
                    <a:pt x="8447294" y="5616559"/>
                  </a:lnTo>
                  <a:lnTo>
                    <a:pt x="2330142" y="5616559"/>
                  </a:lnTo>
                  <a:lnTo>
                    <a:pt x="2101259" y="5468034"/>
                  </a:lnTo>
                  <a:cubicBezTo>
                    <a:pt x="923384" y="4651671"/>
                    <a:pt x="0" y="3578820"/>
                    <a:pt x="0" y="2552872"/>
                  </a:cubicBezTo>
                  <a:cubicBezTo>
                    <a:pt x="0" y="500976"/>
                    <a:pt x="4278785" y="1604796"/>
                    <a:pt x="6085691" y="666388"/>
                  </a:cubicBezTo>
                  <a:cubicBezTo>
                    <a:pt x="7026067" y="180244"/>
                    <a:pt x="7756460" y="-18214"/>
                    <a:pt x="8316277" y="130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EA1E088-FCC0-4BEB-ACA0-B59E2AF07C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3431" y="1988719"/>
            <a:ext cx="9505181" cy="3699442"/>
          </a:xfrm>
        </p:spPr>
        <p:txBody>
          <a:bodyPr anchor="ctr">
            <a:normAutofit/>
          </a:bodyPr>
          <a:lstStyle>
            <a:lvl1pPr marL="0" indent="0" algn="ctr">
              <a:buNone/>
              <a:defRPr sz="4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55DBC6-1891-4D4E-9B5A-BDCEB78A6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35675" y="5880905"/>
            <a:ext cx="3400692" cy="64782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Figure">
            <a:extLst>
              <a:ext uri="{FF2B5EF4-FFF2-40B4-BE49-F238E27FC236}">
                <a16:creationId xmlns:a16="http://schemas.microsoft.com/office/drawing/2014/main" id="{A97C9F97-6012-41FB-8B5B-65E606A8CDCD}"/>
              </a:ext>
            </a:extLst>
          </p:cNvPr>
          <p:cNvSpPr/>
          <p:nvPr userDrawn="1"/>
        </p:nvSpPr>
        <p:spPr>
          <a:xfrm>
            <a:off x="303229" y="1621497"/>
            <a:ext cx="1049353" cy="10691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6" name="Figure">
            <a:extLst>
              <a:ext uri="{FF2B5EF4-FFF2-40B4-BE49-F238E27FC236}">
                <a16:creationId xmlns:a16="http://schemas.microsoft.com/office/drawing/2014/main" id="{A3638349-9CD9-430D-99DB-C2B0F278F4AC}"/>
              </a:ext>
            </a:extLst>
          </p:cNvPr>
          <p:cNvSpPr/>
          <p:nvPr userDrawn="1"/>
        </p:nvSpPr>
        <p:spPr>
          <a:xfrm rot="10800000">
            <a:off x="1487488" y="1643744"/>
            <a:ext cx="724406" cy="6899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FBD2E-EA4D-44AC-A4BD-0C5AA17113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8EFA5652-EC40-4471-9F09-BF266E7781BF}" type="datetime1">
              <a:rPr lang="en-US" smtClean="0"/>
              <a:t>3/22/2022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992B16-E765-430F-BC89-DE8C32948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325CB3F-26C9-44D7-A7CB-40F86C5CE4B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497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ig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A99D1-0EB2-4F85-B3D4-6C023514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5552182" cy="2852737"/>
          </a:xfrm>
        </p:spPr>
        <p:txBody>
          <a:bodyPr lIns="0" anchor="b">
            <a:noAutofit/>
          </a:bodyPr>
          <a:lstStyle>
            <a:lvl1pPr>
              <a:defRPr sz="11500"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55DBC6-1891-4D4E-9B5A-BDCEB78A6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FBD2E-EA4D-44AC-A4BD-0C5AA1711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F3CCF-1F22-45E4-A6BB-91682BD2D438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823A92-51DF-4C54-8C80-1CB70C893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992B16-E765-430F-BC89-DE8C32948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BD05D1D-5FB4-4F4A-B9D3-9E6F632B7EAC}"/>
              </a:ext>
            </a:extLst>
          </p:cNvPr>
          <p:cNvGrpSpPr/>
          <p:nvPr userDrawn="1"/>
        </p:nvGrpSpPr>
        <p:grpSpPr>
          <a:xfrm>
            <a:off x="5231904" y="-1"/>
            <a:ext cx="6960097" cy="6661131"/>
            <a:chOff x="6384032" y="0"/>
            <a:chExt cx="5807969" cy="5558492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6E6B168-566B-473C-AA14-D312485321F1}"/>
                </a:ext>
              </a:extLst>
            </p:cNvPr>
            <p:cNvSpPr/>
            <p:nvPr userDrawn="1"/>
          </p:nvSpPr>
          <p:spPr>
            <a:xfrm>
              <a:off x="8329881" y="1"/>
              <a:ext cx="3862120" cy="4184987"/>
            </a:xfrm>
            <a:custGeom>
              <a:avLst/>
              <a:gdLst>
                <a:gd name="connsiteX0" fmla="*/ 72632 w 3862120"/>
                <a:gd name="connsiteY0" fmla="*/ 0 h 4184987"/>
                <a:gd name="connsiteX1" fmla="*/ 3862120 w 3862120"/>
                <a:gd name="connsiteY1" fmla="*/ 0 h 4184987"/>
                <a:gd name="connsiteX2" fmla="*/ 3862120 w 3862120"/>
                <a:gd name="connsiteY2" fmla="*/ 4018645 h 4184987"/>
                <a:gd name="connsiteX3" fmla="*/ 3849798 w 3862120"/>
                <a:gd name="connsiteY3" fmla="*/ 4027418 h 4184987"/>
                <a:gd name="connsiteX4" fmla="*/ 3409263 w 3862120"/>
                <a:gd name="connsiteY4" fmla="*/ 4179440 h 4184987"/>
                <a:gd name="connsiteX5" fmla="*/ 11722 w 3862120"/>
                <a:gd name="connsiteY5" fmla="*/ 786066 h 4184987"/>
                <a:gd name="connsiteX6" fmla="*/ 49002 w 3862120"/>
                <a:gd name="connsiteY6" fmla="*/ 88876 h 4184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62120" h="4184987">
                  <a:moveTo>
                    <a:pt x="72632" y="0"/>
                  </a:moveTo>
                  <a:lnTo>
                    <a:pt x="3862120" y="0"/>
                  </a:lnTo>
                  <a:lnTo>
                    <a:pt x="3862120" y="4018645"/>
                  </a:lnTo>
                  <a:lnTo>
                    <a:pt x="3849798" y="4027418"/>
                  </a:lnTo>
                  <a:cubicBezTo>
                    <a:pt x="3719683" y="4109955"/>
                    <a:pt x="3573386" y="4162923"/>
                    <a:pt x="3409263" y="4179440"/>
                  </a:cubicBezTo>
                  <a:cubicBezTo>
                    <a:pt x="2096287" y="4311293"/>
                    <a:pt x="139121" y="2061203"/>
                    <a:pt x="11722" y="786066"/>
                  </a:cubicBezTo>
                  <a:cubicBezTo>
                    <a:pt x="-12601" y="547032"/>
                    <a:pt x="1454" y="312714"/>
                    <a:pt x="49002" y="88876"/>
                  </a:cubicBezTo>
                  <a:close/>
                </a:path>
              </a:pathLst>
            </a:custGeom>
            <a:solidFill>
              <a:schemeClr val="accent6"/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ctr" defTabSz="457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E96AA19-84B7-430D-8805-1FC9E3124763}"/>
                </a:ext>
              </a:extLst>
            </p:cNvPr>
            <p:cNvSpPr/>
            <p:nvPr userDrawn="1"/>
          </p:nvSpPr>
          <p:spPr>
            <a:xfrm>
              <a:off x="7390509" y="0"/>
              <a:ext cx="4801492" cy="4017462"/>
            </a:xfrm>
            <a:custGeom>
              <a:avLst/>
              <a:gdLst>
                <a:gd name="connsiteX0" fmla="*/ 2063453 w 4801492"/>
                <a:gd name="connsiteY0" fmla="*/ 0 h 4017462"/>
                <a:gd name="connsiteX1" fmla="*/ 4801492 w 4801492"/>
                <a:gd name="connsiteY1" fmla="*/ 0 h 4017462"/>
                <a:gd name="connsiteX2" fmla="*/ 4801492 w 4801492"/>
                <a:gd name="connsiteY2" fmla="*/ 3620618 h 4017462"/>
                <a:gd name="connsiteX3" fmla="*/ 4540736 w 4801492"/>
                <a:gd name="connsiteY3" fmla="*/ 3716067 h 4017462"/>
                <a:gd name="connsiteX4" fmla="*/ 3663094 w 4801492"/>
                <a:gd name="connsiteY4" fmla="*/ 3936581 h 4017462"/>
                <a:gd name="connsiteX5" fmla="*/ 88907 w 4801492"/>
                <a:gd name="connsiteY5" fmla="*/ 3068732 h 4017462"/>
                <a:gd name="connsiteX6" fmla="*/ 1919217 w 4801492"/>
                <a:gd name="connsiteY6" fmla="*/ 89093 h 4017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01492" h="4017462">
                  <a:moveTo>
                    <a:pt x="2063453" y="0"/>
                  </a:moveTo>
                  <a:lnTo>
                    <a:pt x="4801492" y="0"/>
                  </a:lnTo>
                  <a:lnTo>
                    <a:pt x="4801492" y="3620618"/>
                  </a:lnTo>
                  <a:lnTo>
                    <a:pt x="4540736" y="3716067"/>
                  </a:lnTo>
                  <a:cubicBezTo>
                    <a:pt x="4233752" y="3819100"/>
                    <a:pt x="3933647" y="3892546"/>
                    <a:pt x="3663094" y="3936581"/>
                  </a:cubicBezTo>
                  <a:cubicBezTo>
                    <a:pt x="2220509" y="4171435"/>
                    <a:pt x="473668" y="3898601"/>
                    <a:pt x="88907" y="3068732"/>
                  </a:cubicBezTo>
                  <a:cubicBezTo>
                    <a:pt x="-310361" y="2209732"/>
                    <a:pt x="694404" y="899190"/>
                    <a:pt x="1919217" y="89093"/>
                  </a:cubicBezTo>
                  <a:close/>
                </a:path>
              </a:pathLst>
            </a:custGeom>
            <a:solidFill>
              <a:srgbClr val="8DB1C4">
                <a:alpha val="80000"/>
              </a:srgb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ctr" defTabSz="457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5505493-CC1B-41AE-918B-437E8B2856BA}"/>
                </a:ext>
              </a:extLst>
            </p:cNvPr>
            <p:cNvSpPr/>
            <p:nvPr userDrawn="1"/>
          </p:nvSpPr>
          <p:spPr>
            <a:xfrm>
              <a:off x="6831384" y="0"/>
              <a:ext cx="5360617" cy="3642236"/>
            </a:xfrm>
            <a:custGeom>
              <a:avLst/>
              <a:gdLst>
                <a:gd name="connsiteX0" fmla="*/ 320472 w 5360617"/>
                <a:gd name="connsiteY0" fmla="*/ 0 h 3642236"/>
                <a:gd name="connsiteX1" fmla="*/ 5360617 w 5360617"/>
                <a:gd name="connsiteY1" fmla="*/ 0 h 3642236"/>
                <a:gd name="connsiteX2" fmla="*/ 5360617 w 5360617"/>
                <a:gd name="connsiteY2" fmla="*/ 3227025 h 3642236"/>
                <a:gd name="connsiteX3" fmla="*/ 5351732 w 5360617"/>
                <a:gd name="connsiteY3" fmla="*/ 3232995 h 3642236"/>
                <a:gd name="connsiteX4" fmla="*/ 4028504 w 5360617"/>
                <a:gd name="connsiteY4" fmla="*/ 3642236 h 3642236"/>
                <a:gd name="connsiteX5" fmla="*/ 0 w 5360617"/>
                <a:gd name="connsiteY5" fmla="*/ 624863 h 3642236"/>
                <a:gd name="connsiteX6" fmla="*/ 286013 w 5360617"/>
                <a:gd name="connsiteY6" fmla="*/ 23255 h 3642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60617" h="3642236">
                  <a:moveTo>
                    <a:pt x="320472" y="0"/>
                  </a:moveTo>
                  <a:lnTo>
                    <a:pt x="5360617" y="0"/>
                  </a:lnTo>
                  <a:lnTo>
                    <a:pt x="5360617" y="3227025"/>
                  </a:lnTo>
                  <a:lnTo>
                    <a:pt x="5351732" y="3232995"/>
                  </a:lnTo>
                  <a:cubicBezTo>
                    <a:pt x="4933670" y="3488463"/>
                    <a:pt x="4475851" y="3642236"/>
                    <a:pt x="4028504" y="3642236"/>
                  </a:cubicBezTo>
                  <a:cubicBezTo>
                    <a:pt x="2596996" y="3642236"/>
                    <a:pt x="0" y="2067594"/>
                    <a:pt x="0" y="624863"/>
                  </a:cubicBezTo>
                  <a:cubicBezTo>
                    <a:pt x="0" y="354352"/>
                    <a:pt x="105767" y="161846"/>
                    <a:pt x="286013" y="23255"/>
                  </a:cubicBezTo>
                  <a:close/>
                </a:path>
              </a:pathLst>
            </a:custGeom>
            <a:solidFill>
              <a:schemeClr val="accent3">
                <a:alpha val="80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ctr" defTabSz="457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181426F-5F00-40E9-AA9A-0496C69403A1}"/>
                </a:ext>
              </a:extLst>
            </p:cNvPr>
            <p:cNvSpPr/>
            <p:nvPr userDrawn="1"/>
          </p:nvSpPr>
          <p:spPr>
            <a:xfrm>
              <a:off x="11397987" y="3867634"/>
              <a:ext cx="794014" cy="1182847"/>
            </a:xfrm>
            <a:custGeom>
              <a:avLst/>
              <a:gdLst>
                <a:gd name="connsiteX0" fmla="*/ 794014 w 794014"/>
                <a:gd name="connsiteY0" fmla="*/ 0 h 1182847"/>
                <a:gd name="connsiteX1" fmla="*/ 794014 w 794014"/>
                <a:gd name="connsiteY1" fmla="*/ 1127001 h 1182847"/>
                <a:gd name="connsiteX2" fmla="*/ 772413 w 794014"/>
                <a:gd name="connsiteY2" fmla="*/ 1134386 h 1182847"/>
                <a:gd name="connsiteX3" fmla="*/ 89247 w 794014"/>
                <a:gd name="connsiteY3" fmla="*/ 1098613 h 1182847"/>
                <a:gd name="connsiteX4" fmla="*/ 265906 w 794014"/>
                <a:gd name="connsiteY4" fmla="*/ 295654 h 1182847"/>
                <a:gd name="connsiteX5" fmla="*/ 696781 w 794014"/>
                <a:gd name="connsiteY5" fmla="*/ 18560 h 1182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4014" h="1182847">
                  <a:moveTo>
                    <a:pt x="794014" y="0"/>
                  </a:moveTo>
                  <a:lnTo>
                    <a:pt x="794014" y="1127001"/>
                  </a:lnTo>
                  <a:lnTo>
                    <a:pt x="772413" y="1134386"/>
                  </a:lnTo>
                  <a:cubicBezTo>
                    <a:pt x="496558" y="1208896"/>
                    <a:pt x="195467" y="1197878"/>
                    <a:pt x="89247" y="1098613"/>
                  </a:cubicBezTo>
                  <a:cubicBezTo>
                    <a:pt x="-80777" y="939851"/>
                    <a:pt x="-224" y="579696"/>
                    <a:pt x="265906" y="295654"/>
                  </a:cubicBezTo>
                  <a:cubicBezTo>
                    <a:pt x="399007" y="154723"/>
                    <a:pt x="553905" y="59098"/>
                    <a:pt x="696781" y="18560"/>
                  </a:cubicBez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ctr" defTabSz="457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1" name="Figure">
              <a:extLst>
                <a:ext uri="{FF2B5EF4-FFF2-40B4-BE49-F238E27FC236}">
                  <a16:creationId xmlns:a16="http://schemas.microsoft.com/office/drawing/2014/main" id="{02F9D22C-FFCD-4847-91CD-37F4DCBD6075}"/>
                </a:ext>
              </a:extLst>
            </p:cNvPr>
            <p:cNvSpPr/>
            <p:nvPr userDrawn="1"/>
          </p:nvSpPr>
          <p:spPr>
            <a:xfrm>
              <a:off x="6384032" y="1648242"/>
              <a:ext cx="875650" cy="8921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088" h="18770" extrusionOk="0">
                  <a:moveTo>
                    <a:pt x="18567" y="15982"/>
                  </a:moveTo>
                  <a:cubicBezTo>
                    <a:pt x="20371" y="12782"/>
                    <a:pt x="17299" y="3276"/>
                    <a:pt x="12326" y="688"/>
                  </a:cubicBezTo>
                  <a:cubicBezTo>
                    <a:pt x="7352" y="-1900"/>
                    <a:pt x="2379" y="3418"/>
                    <a:pt x="575" y="6665"/>
                  </a:cubicBezTo>
                  <a:cubicBezTo>
                    <a:pt x="-1229" y="9865"/>
                    <a:pt x="1355" y="14571"/>
                    <a:pt x="6329" y="17159"/>
                  </a:cubicBezTo>
                  <a:cubicBezTo>
                    <a:pt x="11253" y="19700"/>
                    <a:pt x="16763" y="19182"/>
                    <a:pt x="18567" y="15982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algn="ctr" defTabSz="457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2" name="Figure">
              <a:extLst>
                <a:ext uri="{FF2B5EF4-FFF2-40B4-BE49-F238E27FC236}">
                  <a16:creationId xmlns:a16="http://schemas.microsoft.com/office/drawing/2014/main" id="{7CFEC0CE-FB43-4333-9853-7B5924F208AC}"/>
                </a:ext>
              </a:extLst>
            </p:cNvPr>
            <p:cNvSpPr/>
            <p:nvPr userDrawn="1"/>
          </p:nvSpPr>
          <p:spPr>
            <a:xfrm>
              <a:off x="10139329" y="4982756"/>
              <a:ext cx="604493" cy="5757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2" h="18783" extrusionOk="0">
                  <a:moveTo>
                    <a:pt x="402" y="2508"/>
                  </a:moveTo>
                  <a:cubicBezTo>
                    <a:pt x="-1232" y="5646"/>
                    <a:pt x="2321" y="15132"/>
                    <a:pt x="7365" y="17978"/>
                  </a:cubicBezTo>
                  <a:cubicBezTo>
                    <a:pt x="12410" y="20751"/>
                    <a:pt x="17100" y="15716"/>
                    <a:pt x="18734" y="12651"/>
                  </a:cubicBezTo>
                  <a:cubicBezTo>
                    <a:pt x="20368" y="9513"/>
                    <a:pt x="17597" y="4770"/>
                    <a:pt x="12481" y="1997"/>
                  </a:cubicBezTo>
                  <a:cubicBezTo>
                    <a:pt x="7436" y="-849"/>
                    <a:pt x="2036" y="-630"/>
                    <a:pt x="402" y="2508"/>
                  </a:cubicBezTo>
                  <a:close/>
                </a:path>
              </a:pathLst>
            </a:custGeom>
            <a:solidFill>
              <a:schemeClr val="accent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algn="ctr" defTabSz="457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5034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CADDE6-2F8A-471E-A518-BB13DA06D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46C1B7-14B4-4C6B-8DF9-AFB9829EE4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D4BC6-4D0D-4C38-8E61-3B7265C53276}" type="datetime1">
              <a:rPr lang="en-US" smtClean="0"/>
              <a:t>3/2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49B972-84A1-4343-BCEB-B050BA6978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8FF48D-D008-47E7-B3ED-D6F0B4FF1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9096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2BE77-6C43-40AD-ABCF-E64E36A513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5270" y="136525"/>
            <a:ext cx="8428529" cy="1132235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16D0A-CC06-4975-A732-F53359E90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B0212-F8B9-40C8-A44C-BF662CF002B2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154B79-E7FE-48ED-B0DA-7D78B7035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E6126-25F8-4B03-BBC1-DF5D33FFE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4C2378E-37F4-4D35-A4CE-098A70BB67C3}"/>
              </a:ext>
            </a:extLst>
          </p:cNvPr>
          <p:cNvSpPr/>
          <p:nvPr userDrawn="1"/>
        </p:nvSpPr>
        <p:spPr>
          <a:xfrm>
            <a:off x="861777" y="-2072"/>
            <a:ext cx="1197858" cy="1389174"/>
          </a:xfrm>
          <a:custGeom>
            <a:avLst/>
            <a:gdLst>
              <a:gd name="connsiteX0" fmla="*/ 272811 w 1197858"/>
              <a:gd name="connsiteY0" fmla="*/ 0 h 1389174"/>
              <a:gd name="connsiteX1" fmla="*/ 924678 w 1197858"/>
              <a:gd name="connsiteY1" fmla="*/ 0 h 1389174"/>
              <a:gd name="connsiteX2" fmla="*/ 974454 w 1197858"/>
              <a:gd name="connsiteY2" fmla="*/ 32247 h 1389174"/>
              <a:gd name="connsiteX3" fmla="*/ 1189160 w 1197858"/>
              <a:gd name="connsiteY3" fmla="*/ 421913 h 1389174"/>
              <a:gd name="connsiteX4" fmla="*/ 850459 w 1197858"/>
              <a:gd name="connsiteY4" fmla="*/ 1387791 h 1389174"/>
              <a:gd name="connsiteX5" fmla="*/ 2923 w 1197858"/>
              <a:gd name="connsiteY5" fmla="*/ 541295 h 1389174"/>
              <a:gd name="connsiteX6" fmla="*/ 216245 w 1197858"/>
              <a:gd name="connsiteY6" fmla="*/ 37481 h 1389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7858" h="1389174">
                <a:moveTo>
                  <a:pt x="272811" y="0"/>
                </a:moveTo>
                <a:lnTo>
                  <a:pt x="924678" y="0"/>
                </a:lnTo>
                <a:lnTo>
                  <a:pt x="974454" y="32247"/>
                </a:lnTo>
                <a:cubicBezTo>
                  <a:pt x="1092328" y="125644"/>
                  <a:pt x="1173241" y="262904"/>
                  <a:pt x="1189160" y="421913"/>
                </a:cubicBezTo>
                <a:cubicBezTo>
                  <a:pt x="1220940" y="739931"/>
                  <a:pt x="1177988" y="1354828"/>
                  <a:pt x="850459" y="1387791"/>
                </a:cubicBezTo>
                <a:cubicBezTo>
                  <a:pt x="522929" y="1420682"/>
                  <a:pt x="34704" y="859385"/>
                  <a:pt x="2923" y="541295"/>
                </a:cubicBezTo>
                <a:cubicBezTo>
                  <a:pt x="-17301" y="342534"/>
                  <a:pt x="68843" y="156845"/>
                  <a:pt x="216245" y="37481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5" name="Figure">
            <a:extLst>
              <a:ext uri="{FF2B5EF4-FFF2-40B4-BE49-F238E27FC236}">
                <a16:creationId xmlns:a16="http://schemas.microsoft.com/office/drawing/2014/main" id="{F4657BEA-DC8F-4BE7-BF7C-680143DD0533}"/>
              </a:ext>
            </a:extLst>
          </p:cNvPr>
          <p:cNvSpPr/>
          <p:nvPr userDrawn="1"/>
        </p:nvSpPr>
        <p:spPr>
          <a:xfrm>
            <a:off x="627460" y="140534"/>
            <a:ext cx="1772074" cy="12047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589" h="18693" extrusionOk="0">
                <a:moveTo>
                  <a:pt x="245" y="15021"/>
                </a:moveTo>
                <a:cubicBezTo>
                  <a:pt x="1306" y="18233"/>
                  <a:pt x="6123" y="19289"/>
                  <a:pt x="10101" y="18380"/>
                </a:cubicBezTo>
                <a:cubicBezTo>
                  <a:pt x="14080" y="17471"/>
                  <a:pt x="20377" y="13324"/>
                  <a:pt x="19507" y="5836"/>
                </a:cubicBezTo>
                <a:cubicBezTo>
                  <a:pt x="19168" y="2918"/>
                  <a:pt x="16966" y="-2311"/>
                  <a:pt x="8751" y="1135"/>
                </a:cubicBezTo>
                <a:cubicBezTo>
                  <a:pt x="4192" y="3048"/>
                  <a:pt x="-1223" y="10588"/>
                  <a:pt x="245" y="15021"/>
                </a:cubicBezTo>
                <a:close/>
              </a:path>
            </a:pathLst>
          </a:custGeom>
          <a:solidFill>
            <a:srgbClr val="8DB1C4">
              <a:alpha val="80000"/>
            </a:srgb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6" name="Figure">
            <a:extLst>
              <a:ext uri="{FF2B5EF4-FFF2-40B4-BE49-F238E27FC236}">
                <a16:creationId xmlns:a16="http://schemas.microsoft.com/office/drawing/2014/main" id="{8D24ED71-D1A6-4B3D-92ED-855ED2F859DB}"/>
              </a:ext>
            </a:extLst>
          </p:cNvPr>
          <p:cNvSpPr/>
          <p:nvPr userDrawn="1"/>
        </p:nvSpPr>
        <p:spPr>
          <a:xfrm>
            <a:off x="487968" y="51259"/>
            <a:ext cx="1745881" cy="12004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9116" extrusionOk="0">
                <a:moveTo>
                  <a:pt x="0" y="7130"/>
                </a:moveTo>
                <a:cubicBezTo>
                  <a:pt x="0" y="12861"/>
                  <a:pt x="8015" y="19116"/>
                  <a:pt x="12433" y="19116"/>
                </a:cubicBezTo>
                <a:cubicBezTo>
                  <a:pt x="16851" y="19116"/>
                  <a:pt x="21600" y="12861"/>
                  <a:pt x="21600" y="7130"/>
                </a:cubicBezTo>
                <a:cubicBezTo>
                  <a:pt x="21600" y="1399"/>
                  <a:pt x="19736" y="-2484"/>
                  <a:pt x="13206" y="1861"/>
                </a:cubicBezTo>
                <a:cubicBezTo>
                  <a:pt x="9285" y="4482"/>
                  <a:pt x="0" y="1399"/>
                  <a:pt x="0" y="7130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8" name="Figure">
            <a:extLst>
              <a:ext uri="{FF2B5EF4-FFF2-40B4-BE49-F238E27FC236}">
                <a16:creationId xmlns:a16="http://schemas.microsoft.com/office/drawing/2014/main" id="{4E29128A-65FF-46D9-9AC5-CD5F360D05FD}"/>
              </a:ext>
            </a:extLst>
          </p:cNvPr>
          <p:cNvSpPr/>
          <p:nvPr userDrawn="1"/>
        </p:nvSpPr>
        <p:spPr>
          <a:xfrm>
            <a:off x="889707" y="1402361"/>
            <a:ext cx="218435" cy="2225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9" name="Figure">
            <a:extLst>
              <a:ext uri="{FF2B5EF4-FFF2-40B4-BE49-F238E27FC236}">
                <a16:creationId xmlns:a16="http://schemas.microsoft.com/office/drawing/2014/main" id="{B3BA8C1E-A710-4F84-9924-34F2C3A20531}"/>
              </a:ext>
            </a:extLst>
          </p:cNvPr>
          <p:cNvSpPr/>
          <p:nvPr userDrawn="1"/>
        </p:nvSpPr>
        <p:spPr>
          <a:xfrm>
            <a:off x="2281390" y="140534"/>
            <a:ext cx="150794" cy="1436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A941A22-1624-42ED-B289-69DC7E776C8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78553" y="141289"/>
            <a:ext cx="1163046" cy="1127472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defRPr lang="en-US" sz="5400" b="1"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7659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6D417A-FFFC-4C38-B511-2722630CD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9C8D7D-4E0A-454B-A79D-902EC54DE9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04BDBD-06AB-4C31-B0F2-5DD5B4BE07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811E0C-F3A6-4B16-B9AB-5E3667F09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8A652-D59A-420D-92B6-1725CAFBF68E}" type="datetime1">
              <a:rPr lang="en-US" smtClean="0"/>
              <a:t>3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E38BFA-BFF6-490C-A0BA-416294EFCE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5CF87B-2F0A-4942-B880-E8B34C5BDF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1323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ED006-0636-42F1-9CDF-76666726A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D36E0F-BBDE-45B8-A505-73F0AE507B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88661E-F16E-4409-B697-46876AB7A3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5D03C0-D476-4B22-AB2A-BA13BA5C62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24A3DD0-1B03-47CD-9B52-1B55BFD74C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4A505A7-5B4D-4CC0-855A-D8B27D3CA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826D6-2DD8-4B17-948B-3867BDDE64D6}" type="datetime1">
              <a:rPr lang="en-US" smtClean="0"/>
              <a:t>3/22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BB9F58-8B33-4A6B-83B6-DACBFF55C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EC49A68-E101-43C8-B949-D8505E24B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1220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C187B-8DFC-4E18-8A9E-DEF483D42D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8CF1B9-C192-4ED5-8F68-EECA74181C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B9952C-E188-44F7-B6AC-FEAD53B95E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D02327-A8DE-42E1-B8ED-620CCCFD0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5F54AE-43DD-4FA4-AFBC-17C173142BE8}" type="datetime1">
              <a:rPr lang="en-US" smtClean="0"/>
              <a:t>3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443995-4F62-42E0-B06A-F6DF5AE82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8A0555-7BBD-4C3E-81F3-FF0C1E2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0632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gure">
            <a:extLst>
              <a:ext uri="{FF2B5EF4-FFF2-40B4-BE49-F238E27FC236}">
                <a16:creationId xmlns:a16="http://schemas.microsoft.com/office/drawing/2014/main" id="{0DFD6B67-4EBF-4059-B726-B133E1C8983A}"/>
              </a:ext>
            </a:extLst>
          </p:cNvPr>
          <p:cNvSpPr/>
          <p:nvPr userDrawn="1"/>
        </p:nvSpPr>
        <p:spPr>
          <a:xfrm>
            <a:off x="3867079" y="785076"/>
            <a:ext cx="4801950" cy="59588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693" h="20744" extrusionOk="0">
                <a:moveTo>
                  <a:pt x="50" y="8912"/>
                </a:moveTo>
                <a:cubicBezTo>
                  <a:pt x="599" y="13351"/>
                  <a:pt x="9033" y="21184"/>
                  <a:pt x="14691" y="20725"/>
                </a:cubicBezTo>
                <a:cubicBezTo>
                  <a:pt x="20349" y="20265"/>
                  <a:pt x="21091" y="11684"/>
                  <a:pt x="20542" y="7246"/>
                </a:cubicBezTo>
                <a:cubicBezTo>
                  <a:pt x="19992" y="2808"/>
                  <a:pt x="14951" y="-416"/>
                  <a:pt x="9293" y="43"/>
                </a:cubicBezTo>
                <a:cubicBezTo>
                  <a:pt x="3636" y="503"/>
                  <a:pt x="-509" y="4474"/>
                  <a:pt x="50" y="8912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8" name="Figure">
            <a:extLst>
              <a:ext uri="{FF2B5EF4-FFF2-40B4-BE49-F238E27FC236}">
                <a16:creationId xmlns:a16="http://schemas.microsoft.com/office/drawing/2014/main" id="{A6AFB5AB-00A5-42C5-8B89-0D4DEAD0012C}"/>
              </a:ext>
            </a:extLst>
          </p:cNvPr>
          <p:cNvSpPr/>
          <p:nvPr userDrawn="1"/>
        </p:nvSpPr>
        <p:spPr>
          <a:xfrm>
            <a:off x="2927648" y="1746876"/>
            <a:ext cx="7103771" cy="48296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589" h="18693" extrusionOk="0">
                <a:moveTo>
                  <a:pt x="245" y="15021"/>
                </a:moveTo>
                <a:cubicBezTo>
                  <a:pt x="1306" y="18233"/>
                  <a:pt x="6123" y="19289"/>
                  <a:pt x="10101" y="18380"/>
                </a:cubicBezTo>
                <a:cubicBezTo>
                  <a:pt x="14080" y="17471"/>
                  <a:pt x="20377" y="13324"/>
                  <a:pt x="19507" y="5836"/>
                </a:cubicBezTo>
                <a:cubicBezTo>
                  <a:pt x="19168" y="2918"/>
                  <a:pt x="16966" y="-2311"/>
                  <a:pt x="8751" y="1135"/>
                </a:cubicBezTo>
                <a:cubicBezTo>
                  <a:pt x="4192" y="3048"/>
                  <a:pt x="-1223" y="10588"/>
                  <a:pt x="245" y="15021"/>
                </a:cubicBezTo>
                <a:close/>
              </a:path>
            </a:pathLst>
          </a:custGeom>
          <a:solidFill>
            <a:srgbClr val="8DB1C4">
              <a:alpha val="80000"/>
            </a:srgb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9" name="Figure">
            <a:extLst>
              <a:ext uri="{FF2B5EF4-FFF2-40B4-BE49-F238E27FC236}">
                <a16:creationId xmlns:a16="http://schemas.microsoft.com/office/drawing/2014/main" id="{F853A99F-53BE-43F4-B45A-A2127E017721}"/>
              </a:ext>
            </a:extLst>
          </p:cNvPr>
          <p:cNvSpPr/>
          <p:nvPr userDrawn="1"/>
        </p:nvSpPr>
        <p:spPr>
          <a:xfrm>
            <a:off x="2368461" y="1388997"/>
            <a:ext cx="6998772" cy="48122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9116" extrusionOk="0">
                <a:moveTo>
                  <a:pt x="0" y="7130"/>
                </a:moveTo>
                <a:cubicBezTo>
                  <a:pt x="0" y="12861"/>
                  <a:pt x="8015" y="19116"/>
                  <a:pt x="12433" y="19116"/>
                </a:cubicBezTo>
                <a:cubicBezTo>
                  <a:pt x="16851" y="19116"/>
                  <a:pt x="21600" y="12861"/>
                  <a:pt x="21600" y="7130"/>
                </a:cubicBezTo>
                <a:cubicBezTo>
                  <a:pt x="21600" y="1399"/>
                  <a:pt x="19736" y="-2484"/>
                  <a:pt x="13206" y="1861"/>
                </a:cubicBezTo>
                <a:cubicBezTo>
                  <a:pt x="9285" y="4482"/>
                  <a:pt x="0" y="1399"/>
                  <a:pt x="0" y="7130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0" name="Figure">
            <a:extLst>
              <a:ext uri="{FF2B5EF4-FFF2-40B4-BE49-F238E27FC236}">
                <a16:creationId xmlns:a16="http://schemas.microsoft.com/office/drawing/2014/main" id="{523540BF-0941-4408-B229-3B101068B600}"/>
              </a:ext>
            </a:extLst>
          </p:cNvPr>
          <p:cNvSpPr/>
          <p:nvPr userDrawn="1"/>
        </p:nvSpPr>
        <p:spPr>
          <a:xfrm>
            <a:off x="6730112" y="114053"/>
            <a:ext cx="1313884" cy="11862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8415" h="19060" extrusionOk="0">
                <a:moveTo>
                  <a:pt x="1251" y="17706"/>
                </a:moveTo>
                <a:cubicBezTo>
                  <a:pt x="3633" y="20258"/>
                  <a:pt x="13007" y="19180"/>
                  <a:pt x="16737" y="14651"/>
                </a:cubicBezTo>
                <a:cubicBezTo>
                  <a:pt x="20468" y="10087"/>
                  <a:pt x="17145" y="3797"/>
                  <a:pt x="14794" y="1210"/>
                </a:cubicBezTo>
                <a:cubicBezTo>
                  <a:pt x="12411" y="-1342"/>
                  <a:pt x="7458" y="275"/>
                  <a:pt x="3727" y="4804"/>
                </a:cubicBezTo>
                <a:cubicBezTo>
                  <a:pt x="-3" y="9368"/>
                  <a:pt x="-1132" y="15155"/>
                  <a:pt x="1251" y="17706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1" name="Figure">
            <a:extLst>
              <a:ext uri="{FF2B5EF4-FFF2-40B4-BE49-F238E27FC236}">
                <a16:creationId xmlns:a16="http://schemas.microsoft.com/office/drawing/2014/main" id="{BD5C64BF-08E2-4135-B576-782BCC1358BD}"/>
              </a:ext>
            </a:extLst>
          </p:cNvPr>
          <p:cNvSpPr/>
          <p:nvPr userDrawn="1"/>
        </p:nvSpPr>
        <p:spPr>
          <a:xfrm>
            <a:off x="1921112" y="4207292"/>
            <a:ext cx="875650" cy="8921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2" name="Figure">
            <a:extLst>
              <a:ext uri="{FF2B5EF4-FFF2-40B4-BE49-F238E27FC236}">
                <a16:creationId xmlns:a16="http://schemas.microsoft.com/office/drawing/2014/main" id="{284B6DC6-7C4D-44E7-9164-F5FAB39BEF1C}"/>
              </a:ext>
            </a:extLst>
          </p:cNvPr>
          <p:cNvSpPr/>
          <p:nvPr userDrawn="1"/>
        </p:nvSpPr>
        <p:spPr>
          <a:xfrm>
            <a:off x="8765547" y="1031118"/>
            <a:ext cx="604493" cy="5757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9A6E0A-A784-4C45-AFF8-2658713EFA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61928" y="2072667"/>
            <a:ext cx="5868144" cy="2387600"/>
          </a:xfrm>
        </p:spPr>
        <p:txBody>
          <a:bodyPr anchor="b"/>
          <a:lstStyle>
            <a:lvl1pPr algn="ctr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C34C85-A365-4BBD-B9CF-8C6283402A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61928" y="4552342"/>
            <a:ext cx="586814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7BA3C7-7567-46E4-A65B-A3825FBDF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99930AD9-FF79-4EED-A18D-A61B0BAA6891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500830-2640-4EEC-B623-30A512C087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8248" y="6356350"/>
            <a:ext cx="3025552" cy="365125"/>
          </a:xfrm>
        </p:spPr>
        <p:txBody>
          <a:bodyPr/>
          <a:lstStyle>
            <a:lvl1pPr algn="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4279534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063F18-26BE-440C-8365-DBFFCAFF1C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D0AD9F-8698-4DE9-B5C3-5A411C6C5A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1F8511-FDD6-4BC9-9817-97FAF38EE4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6E8457-7F83-48BF-B23C-E2D90546E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1A68D-2FAF-4A09-BB66-ECC7D5317E11}" type="datetime1">
              <a:rPr lang="en-US" smtClean="0"/>
              <a:t>3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E49A64-2BF7-4F52-8193-200FAF370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7E87D1-7122-4984-8CBE-AAA7EC69D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1301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F75A18-C7BB-4A58-BFDC-25892F9D13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24CCC6E-55D7-4343-85BB-C0C54327A8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C68ACC-43DC-4377-8A40-C0B6C151C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79101-0A99-4E9D-B6CD-11E7E0CA24C1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07C815-BA82-4032-9939-8245E0FB2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AD39EA-5B18-4FD5-A2CE-AEC5F7F88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684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95393DF-F0D3-438F-A020-FADDF18C8C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36B2C9-FF10-47A1-BB7D-7B37D1FBBF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E18FE7-5958-4284-9AC4-3C364206D4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F07A0-A521-4F9D-BBDF-6702CE563F3A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6196B1-38F8-4FA2-9040-4D7BE424BA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BD1661-8695-4862-93E8-E000D83FD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5348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3AF393-821B-4439-94D2-E6EC1C1C60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68125" y="6330789"/>
            <a:ext cx="523875" cy="391107"/>
          </a:xfrm>
        </p:spPr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6033162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w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11096512" y="5774480"/>
            <a:ext cx="1095488" cy="108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1351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2BE77-6C43-40AD-ABCF-E64E36A51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762276-1662-4EB6-B7CB-4BCCA4334D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16D0A-CC06-4975-A732-F53359E90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A25FC-526A-4DE3-8CAB-40E77FEDF73C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154B79-E7FE-48ED-B0DA-7D78B7035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E6126-25F8-4B03-BBC1-DF5D33FFE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397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2BE77-6C43-40AD-ABCF-E64E36A513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5270" y="136525"/>
            <a:ext cx="8428529" cy="1132235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762276-1662-4EB6-B7CB-4BCCA4334D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60848"/>
            <a:ext cx="10515600" cy="4116115"/>
          </a:xfrm>
        </p:spPr>
        <p:txBody>
          <a:bodyPr>
            <a:normAutofit/>
          </a:bodyPr>
          <a:lstStyle>
            <a:lvl1pPr marL="569913" indent="-569913">
              <a:spcAft>
                <a:spcPts val="1200"/>
              </a:spcAft>
              <a:buFontTx/>
              <a:buBlip>
                <a:blip r:embed="rId2"/>
              </a:buBlip>
              <a:tabLst>
                <a:tab pos="914400" algn="l"/>
              </a:tabLst>
              <a:defRPr sz="3600"/>
            </a:lvl1pPr>
            <a:lvl2pPr marL="685800" indent="-228600">
              <a:spcAft>
                <a:spcPts val="1200"/>
              </a:spcAft>
              <a:buFontTx/>
              <a:buBlip>
                <a:blip r:embed="rId2"/>
              </a:buBlip>
              <a:tabLst>
                <a:tab pos="914400" algn="l"/>
              </a:tabLst>
              <a:defRPr sz="3200"/>
            </a:lvl2pPr>
            <a:lvl3pPr marL="1143000" indent="-228600">
              <a:spcAft>
                <a:spcPts val="1200"/>
              </a:spcAft>
              <a:buFontTx/>
              <a:buBlip>
                <a:blip r:embed="rId2"/>
              </a:buBlip>
              <a:tabLst>
                <a:tab pos="914400" algn="l"/>
              </a:tabLst>
              <a:defRPr sz="2800"/>
            </a:lvl3pPr>
            <a:lvl4pPr marL="1600200" indent="-228600">
              <a:spcAft>
                <a:spcPts val="1200"/>
              </a:spcAft>
              <a:buFontTx/>
              <a:buBlip>
                <a:blip r:embed="rId2"/>
              </a:buBlip>
              <a:tabLst>
                <a:tab pos="914400" algn="l"/>
              </a:tabLst>
              <a:defRPr sz="2400"/>
            </a:lvl4pPr>
            <a:lvl5pPr marL="2057400" indent="-228600">
              <a:spcAft>
                <a:spcPts val="1200"/>
              </a:spcAft>
              <a:buFontTx/>
              <a:buBlip>
                <a:blip r:embed="rId2"/>
              </a:buBlip>
              <a:tabLst>
                <a:tab pos="914400" algn="l"/>
              </a:tabLst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16D0A-CC06-4975-A732-F53359E90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DC048E-C923-434E-A0DB-385B3AF15A7D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154B79-E7FE-48ED-B0DA-7D78B7035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E6126-25F8-4B03-BBC1-DF5D33FFE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4C2378E-37F4-4D35-A4CE-098A70BB67C3}"/>
              </a:ext>
            </a:extLst>
          </p:cNvPr>
          <p:cNvSpPr/>
          <p:nvPr userDrawn="1"/>
        </p:nvSpPr>
        <p:spPr>
          <a:xfrm>
            <a:off x="861777" y="-2072"/>
            <a:ext cx="1197858" cy="1389174"/>
          </a:xfrm>
          <a:custGeom>
            <a:avLst/>
            <a:gdLst>
              <a:gd name="connsiteX0" fmla="*/ 272811 w 1197858"/>
              <a:gd name="connsiteY0" fmla="*/ 0 h 1389174"/>
              <a:gd name="connsiteX1" fmla="*/ 924678 w 1197858"/>
              <a:gd name="connsiteY1" fmla="*/ 0 h 1389174"/>
              <a:gd name="connsiteX2" fmla="*/ 974454 w 1197858"/>
              <a:gd name="connsiteY2" fmla="*/ 32247 h 1389174"/>
              <a:gd name="connsiteX3" fmla="*/ 1189160 w 1197858"/>
              <a:gd name="connsiteY3" fmla="*/ 421913 h 1389174"/>
              <a:gd name="connsiteX4" fmla="*/ 850459 w 1197858"/>
              <a:gd name="connsiteY4" fmla="*/ 1387791 h 1389174"/>
              <a:gd name="connsiteX5" fmla="*/ 2923 w 1197858"/>
              <a:gd name="connsiteY5" fmla="*/ 541295 h 1389174"/>
              <a:gd name="connsiteX6" fmla="*/ 216245 w 1197858"/>
              <a:gd name="connsiteY6" fmla="*/ 37481 h 1389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7858" h="1389174">
                <a:moveTo>
                  <a:pt x="272811" y="0"/>
                </a:moveTo>
                <a:lnTo>
                  <a:pt x="924678" y="0"/>
                </a:lnTo>
                <a:lnTo>
                  <a:pt x="974454" y="32247"/>
                </a:lnTo>
                <a:cubicBezTo>
                  <a:pt x="1092328" y="125644"/>
                  <a:pt x="1173241" y="262904"/>
                  <a:pt x="1189160" y="421913"/>
                </a:cubicBezTo>
                <a:cubicBezTo>
                  <a:pt x="1220940" y="739931"/>
                  <a:pt x="1177988" y="1354828"/>
                  <a:pt x="850459" y="1387791"/>
                </a:cubicBezTo>
                <a:cubicBezTo>
                  <a:pt x="522929" y="1420682"/>
                  <a:pt x="34704" y="859385"/>
                  <a:pt x="2923" y="541295"/>
                </a:cubicBezTo>
                <a:cubicBezTo>
                  <a:pt x="-17301" y="342534"/>
                  <a:pt x="68843" y="156845"/>
                  <a:pt x="216245" y="37481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5" name="Figure">
            <a:extLst>
              <a:ext uri="{FF2B5EF4-FFF2-40B4-BE49-F238E27FC236}">
                <a16:creationId xmlns:a16="http://schemas.microsoft.com/office/drawing/2014/main" id="{F4657BEA-DC8F-4BE7-BF7C-680143DD0533}"/>
              </a:ext>
            </a:extLst>
          </p:cNvPr>
          <p:cNvSpPr/>
          <p:nvPr userDrawn="1"/>
        </p:nvSpPr>
        <p:spPr>
          <a:xfrm>
            <a:off x="627460" y="140534"/>
            <a:ext cx="1772074" cy="12047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589" h="18693" extrusionOk="0">
                <a:moveTo>
                  <a:pt x="245" y="15021"/>
                </a:moveTo>
                <a:cubicBezTo>
                  <a:pt x="1306" y="18233"/>
                  <a:pt x="6123" y="19289"/>
                  <a:pt x="10101" y="18380"/>
                </a:cubicBezTo>
                <a:cubicBezTo>
                  <a:pt x="14080" y="17471"/>
                  <a:pt x="20377" y="13324"/>
                  <a:pt x="19507" y="5836"/>
                </a:cubicBezTo>
                <a:cubicBezTo>
                  <a:pt x="19168" y="2918"/>
                  <a:pt x="16966" y="-2311"/>
                  <a:pt x="8751" y="1135"/>
                </a:cubicBezTo>
                <a:cubicBezTo>
                  <a:pt x="4192" y="3048"/>
                  <a:pt x="-1223" y="10588"/>
                  <a:pt x="245" y="15021"/>
                </a:cubicBezTo>
                <a:close/>
              </a:path>
            </a:pathLst>
          </a:custGeom>
          <a:solidFill>
            <a:srgbClr val="8DB1C4">
              <a:alpha val="80000"/>
            </a:srgb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6" name="Figure">
            <a:extLst>
              <a:ext uri="{FF2B5EF4-FFF2-40B4-BE49-F238E27FC236}">
                <a16:creationId xmlns:a16="http://schemas.microsoft.com/office/drawing/2014/main" id="{8D24ED71-D1A6-4B3D-92ED-855ED2F859DB}"/>
              </a:ext>
            </a:extLst>
          </p:cNvPr>
          <p:cNvSpPr/>
          <p:nvPr userDrawn="1"/>
        </p:nvSpPr>
        <p:spPr>
          <a:xfrm>
            <a:off x="487968" y="51259"/>
            <a:ext cx="1745881" cy="12004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9116" extrusionOk="0">
                <a:moveTo>
                  <a:pt x="0" y="7130"/>
                </a:moveTo>
                <a:cubicBezTo>
                  <a:pt x="0" y="12861"/>
                  <a:pt x="8015" y="19116"/>
                  <a:pt x="12433" y="19116"/>
                </a:cubicBezTo>
                <a:cubicBezTo>
                  <a:pt x="16851" y="19116"/>
                  <a:pt x="21600" y="12861"/>
                  <a:pt x="21600" y="7130"/>
                </a:cubicBezTo>
                <a:cubicBezTo>
                  <a:pt x="21600" y="1399"/>
                  <a:pt x="19736" y="-2484"/>
                  <a:pt x="13206" y="1861"/>
                </a:cubicBezTo>
                <a:cubicBezTo>
                  <a:pt x="9285" y="4482"/>
                  <a:pt x="0" y="1399"/>
                  <a:pt x="0" y="7130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8" name="Figure">
            <a:extLst>
              <a:ext uri="{FF2B5EF4-FFF2-40B4-BE49-F238E27FC236}">
                <a16:creationId xmlns:a16="http://schemas.microsoft.com/office/drawing/2014/main" id="{4E29128A-65FF-46D9-9AC5-CD5F360D05FD}"/>
              </a:ext>
            </a:extLst>
          </p:cNvPr>
          <p:cNvSpPr/>
          <p:nvPr userDrawn="1"/>
        </p:nvSpPr>
        <p:spPr>
          <a:xfrm>
            <a:off x="889707" y="1402361"/>
            <a:ext cx="218435" cy="2225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9" name="Figure">
            <a:extLst>
              <a:ext uri="{FF2B5EF4-FFF2-40B4-BE49-F238E27FC236}">
                <a16:creationId xmlns:a16="http://schemas.microsoft.com/office/drawing/2014/main" id="{B3BA8C1E-A710-4F84-9924-34F2C3A20531}"/>
              </a:ext>
            </a:extLst>
          </p:cNvPr>
          <p:cNvSpPr/>
          <p:nvPr userDrawn="1"/>
        </p:nvSpPr>
        <p:spPr>
          <a:xfrm>
            <a:off x="2281390" y="140534"/>
            <a:ext cx="150794" cy="1436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A941A22-1624-42ED-B289-69DC7E776C8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78553" y="141289"/>
            <a:ext cx="1163046" cy="1127472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defRPr lang="en-US" sz="5400" b="1"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01068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Number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2BE77-6C43-40AD-ABCF-E64E36A513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5270" y="136525"/>
            <a:ext cx="8428529" cy="1132235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accent5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762276-1662-4EB6-B7CB-4BCCA4334D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60848"/>
            <a:ext cx="10515600" cy="4116115"/>
          </a:xfrm>
        </p:spPr>
        <p:txBody>
          <a:bodyPr>
            <a:normAutofit/>
          </a:bodyPr>
          <a:lstStyle>
            <a:lvl1pPr marL="569913" indent="-569913">
              <a:spcAft>
                <a:spcPts val="1200"/>
              </a:spcAft>
              <a:buFontTx/>
              <a:buBlip>
                <a:blip r:embed="rId2"/>
              </a:buBlip>
              <a:tabLst>
                <a:tab pos="914400" algn="l"/>
              </a:tabLst>
              <a:defRPr sz="3600">
                <a:solidFill>
                  <a:schemeClr val="accent5">
                    <a:lumMod val="20000"/>
                    <a:lumOff val="80000"/>
                  </a:schemeClr>
                </a:solidFill>
              </a:defRPr>
            </a:lvl1pPr>
            <a:lvl2pPr marL="685800" indent="-228600">
              <a:spcAft>
                <a:spcPts val="1200"/>
              </a:spcAft>
              <a:buFontTx/>
              <a:buBlip>
                <a:blip r:embed="rId2"/>
              </a:buBlip>
              <a:tabLst>
                <a:tab pos="914400" algn="l"/>
              </a:tabLst>
              <a:defRPr sz="3200">
                <a:solidFill>
                  <a:schemeClr val="accent5">
                    <a:lumMod val="20000"/>
                    <a:lumOff val="80000"/>
                  </a:schemeClr>
                </a:solidFill>
              </a:defRPr>
            </a:lvl2pPr>
            <a:lvl3pPr marL="1143000" indent="-228600">
              <a:spcAft>
                <a:spcPts val="1200"/>
              </a:spcAft>
              <a:buFontTx/>
              <a:buBlip>
                <a:blip r:embed="rId2"/>
              </a:buBlip>
              <a:tabLst>
                <a:tab pos="914400" algn="l"/>
              </a:tabLst>
              <a:defRPr sz="2800">
                <a:solidFill>
                  <a:schemeClr val="accent5">
                    <a:lumMod val="20000"/>
                    <a:lumOff val="80000"/>
                  </a:schemeClr>
                </a:solidFill>
              </a:defRPr>
            </a:lvl3pPr>
            <a:lvl4pPr marL="1600200" indent="-228600">
              <a:spcAft>
                <a:spcPts val="1200"/>
              </a:spcAft>
              <a:buFontTx/>
              <a:buBlip>
                <a:blip r:embed="rId2"/>
              </a:buBlip>
              <a:tabLst>
                <a:tab pos="914400" algn="l"/>
              </a:tabLst>
              <a:defRPr sz="2400">
                <a:solidFill>
                  <a:schemeClr val="accent5">
                    <a:lumMod val="20000"/>
                    <a:lumOff val="80000"/>
                  </a:schemeClr>
                </a:solidFill>
              </a:defRPr>
            </a:lvl4pPr>
            <a:lvl5pPr marL="2057400" indent="-228600">
              <a:spcAft>
                <a:spcPts val="1200"/>
              </a:spcAft>
              <a:buFontTx/>
              <a:buBlip>
                <a:blip r:embed="rId2"/>
              </a:buBlip>
              <a:tabLst>
                <a:tab pos="914400" algn="l"/>
              </a:tabLst>
              <a:defRPr sz="2400">
                <a:solidFill>
                  <a:schemeClr val="accent5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16D0A-CC06-4975-A732-F53359E90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20962-CC69-455F-93B2-1F48785560EC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154B79-E7FE-48ED-B0DA-7D78B7035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E6126-25F8-4B03-BBC1-DF5D33FFE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A5997A6-0989-4ABE-9EE2-FAC905B671FA}"/>
              </a:ext>
            </a:extLst>
          </p:cNvPr>
          <p:cNvSpPr/>
          <p:nvPr userDrawn="1"/>
        </p:nvSpPr>
        <p:spPr>
          <a:xfrm>
            <a:off x="861777" y="-2072"/>
            <a:ext cx="1197858" cy="1389174"/>
          </a:xfrm>
          <a:custGeom>
            <a:avLst/>
            <a:gdLst>
              <a:gd name="connsiteX0" fmla="*/ 272811 w 1197858"/>
              <a:gd name="connsiteY0" fmla="*/ 0 h 1389174"/>
              <a:gd name="connsiteX1" fmla="*/ 924678 w 1197858"/>
              <a:gd name="connsiteY1" fmla="*/ 0 h 1389174"/>
              <a:gd name="connsiteX2" fmla="*/ 974454 w 1197858"/>
              <a:gd name="connsiteY2" fmla="*/ 32247 h 1389174"/>
              <a:gd name="connsiteX3" fmla="*/ 1189160 w 1197858"/>
              <a:gd name="connsiteY3" fmla="*/ 421913 h 1389174"/>
              <a:gd name="connsiteX4" fmla="*/ 850459 w 1197858"/>
              <a:gd name="connsiteY4" fmla="*/ 1387791 h 1389174"/>
              <a:gd name="connsiteX5" fmla="*/ 2923 w 1197858"/>
              <a:gd name="connsiteY5" fmla="*/ 541295 h 1389174"/>
              <a:gd name="connsiteX6" fmla="*/ 216245 w 1197858"/>
              <a:gd name="connsiteY6" fmla="*/ 37481 h 1389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7858" h="1389174">
                <a:moveTo>
                  <a:pt x="272811" y="0"/>
                </a:moveTo>
                <a:lnTo>
                  <a:pt x="924678" y="0"/>
                </a:lnTo>
                <a:lnTo>
                  <a:pt x="974454" y="32247"/>
                </a:lnTo>
                <a:cubicBezTo>
                  <a:pt x="1092328" y="125644"/>
                  <a:pt x="1173241" y="262904"/>
                  <a:pt x="1189160" y="421913"/>
                </a:cubicBezTo>
                <a:cubicBezTo>
                  <a:pt x="1220940" y="739931"/>
                  <a:pt x="1177988" y="1354828"/>
                  <a:pt x="850459" y="1387791"/>
                </a:cubicBezTo>
                <a:cubicBezTo>
                  <a:pt x="522929" y="1420682"/>
                  <a:pt x="34704" y="859385"/>
                  <a:pt x="2923" y="541295"/>
                </a:cubicBezTo>
                <a:cubicBezTo>
                  <a:pt x="-17301" y="342534"/>
                  <a:pt x="68843" y="156845"/>
                  <a:pt x="216245" y="37481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5" name="Figure">
            <a:extLst>
              <a:ext uri="{FF2B5EF4-FFF2-40B4-BE49-F238E27FC236}">
                <a16:creationId xmlns:a16="http://schemas.microsoft.com/office/drawing/2014/main" id="{F4657BEA-DC8F-4BE7-BF7C-680143DD0533}"/>
              </a:ext>
            </a:extLst>
          </p:cNvPr>
          <p:cNvSpPr/>
          <p:nvPr userDrawn="1"/>
        </p:nvSpPr>
        <p:spPr>
          <a:xfrm>
            <a:off x="627460" y="140534"/>
            <a:ext cx="1772074" cy="12047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589" h="18693" extrusionOk="0">
                <a:moveTo>
                  <a:pt x="245" y="15021"/>
                </a:moveTo>
                <a:cubicBezTo>
                  <a:pt x="1306" y="18233"/>
                  <a:pt x="6123" y="19289"/>
                  <a:pt x="10101" y="18380"/>
                </a:cubicBezTo>
                <a:cubicBezTo>
                  <a:pt x="14080" y="17471"/>
                  <a:pt x="20377" y="13324"/>
                  <a:pt x="19507" y="5836"/>
                </a:cubicBezTo>
                <a:cubicBezTo>
                  <a:pt x="19168" y="2918"/>
                  <a:pt x="16966" y="-2311"/>
                  <a:pt x="8751" y="1135"/>
                </a:cubicBezTo>
                <a:cubicBezTo>
                  <a:pt x="4192" y="3048"/>
                  <a:pt x="-1223" y="10588"/>
                  <a:pt x="245" y="15021"/>
                </a:cubicBezTo>
                <a:close/>
              </a:path>
            </a:pathLst>
          </a:custGeom>
          <a:solidFill>
            <a:srgbClr val="8DB1C4">
              <a:alpha val="80000"/>
            </a:srgb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6" name="Figure">
            <a:extLst>
              <a:ext uri="{FF2B5EF4-FFF2-40B4-BE49-F238E27FC236}">
                <a16:creationId xmlns:a16="http://schemas.microsoft.com/office/drawing/2014/main" id="{8D24ED71-D1A6-4B3D-92ED-855ED2F859DB}"/>
              </a:ext>
            </a:extLst>
          </p:cNvPr>
          <p:cNvSpPr/>
          <p:nvPr userDrawn="1"/>
        </p:nvSpPr>
        <p:spPr>
          <a:xfrm>
            <a:off x="487968" y="51259"/>
            <a:ext cx="1745881" cy="12004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9116" extrusionOk="0">
                <a:moveTo>
                  <a:pt x="0" y="7130"/>
                </a:moveTo>
                <a:cubicBezTo>
                  <a:pt x="0" y="12861"/>
                  <a:pt x="8015" y="19116"/>
                  <a:pt x="12433" y="19116"/>
                </a:cubicBezTo>
                <a:cubicBezTo>
                  <a:pt x="16851" y="19116"/>
                  <a:pt x="21600" y="12861"/>
                  <a:pt x="21600" y="7130"/>
                </a:cubicBezTo>
                <a:cubicBezTo>
                  <a:pt x="21600" y="1399"/>
                  <a:pt x="19736" y="-2484"/>
                  <a:pt x="13206" y="1861"/>
                </a:cubicBezTo>
                <a:cubicBezTo>
                  <a:pt x="9285" y="4482"/>
                  <a:pt x="0" y="1399"/>
                  <a:pt x="0" y="7130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8" name="Figure">
            <a:extLst>
              <a:ext uri="{FF2B5EF4-FFF2-40B4-BE49-F238E27FC236}">
                <a16:creationId xmlns:a16="http://schemas.microsoft.com/office/drawing/2014/main" id="{4E29128A-65FF-46D9-9AC5-CD5F360D05FD}"/>
              </a:ext>
            </a:extLst>
          </p:cNvPr>
          <p:cNvSpPr/>
          <p:nvPr userDrawn="1"/>
        </p:nvSpPr>
        <p:spPr>
          <a:xfrm>
            <a:off x="889707" y="1402361"/>
            <a:ext cx="218435" cy="2225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9" name="Figure">
            <a:extLst>
              <a:ext uri="{FF2B5EF4-FFF2-40B4-BE49-F238E27FC236}">
                <a16:creationId xmlns:a16="http://schemas.microsoft.com/office/drawing/2014/main" id="{B3BA8C1E-A710-4F84-9924-34F2C3A20531}"/>
              </a:ext>
            </a:extLst>
          </p:cNvPr>
          <p:cNvSpPr/>
          <p:nvPr userDrawn="1"/>
        </p:nvSpPr>
        <p:spPr>
          <a:xfrm>
            <a:off x="2281390" y="140534"/>
            <a:ext cx="150794" cy="1436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A941A22-1624-42ED-B289-69DC7E776C8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78553" y="141289"/>
            <a:ext cx="1163046" cy="1127472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defRPr lang="en-US" sz="5400" b="1"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197236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A99D1-0EB2-4F85-B3D4-6C023514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55DBC6-1891-4D4E-9B5A-BDCEB78A6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FBD2E-EA4D-44AC-A4BD-0C5AA1711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D5C61-EDBD-449B-A391-1539F9F36BC5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823A92-51DF-4C54-8C80-1CB70C893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992B16-E765-430F-BC89-DE8C32948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F6E6B168-566B-473C-AA14-D312485321F1}"/>
              </a:ext>
            </a:extLst>
          </p:cNvPr>
          <p:cNvSpPr/>
          <p:nvPr userDrawn="1"/>
        </p:nvSpPr>
        <p:spPr>
          <a:xfrm>
            <a:off x="8329881" y="1"/>
            <a:ext cx="3862120" cy="4184987"/>
          </a:xfrm>
          <a:custGeom>
            <a:avLst/>
            <a:gdLst>
              <a:gd name="connsiteX0" fmla="*/ 72632 w 3862120"/>
              <a:gd name="connsiteY0" fmla="*/ 0 h 4184987"/>
              <a:gd name="connsiteX1" fmla="*/ 3862120 w 3862120"/>
              <a:gd name="connsiteY1" fmla="*/ 0 h 4184987"/>
              <a:gd name="connsiteX2" fmla="*/ 3862120 w 3862120"/>
              <a:gd name="connsiteY2" fmla="*/ 4018645 h 4184987"/>
              <a:gd name="connsiteX3" fmla="*/ 3849798 w 3862120"/>
              <a:gd name="connsiteY3" fmla="*/ 4027418 h 4184987"/>
              <a:gd name="connsiteX4" fmla="*/ 3409263 w 3862120"/>
              <a:gd name="connsiteY4" fmla="*/ 4179440 h 4184987"/>
              <a:gd name="connsiteX5" fmla="*/ 11722 w 3862120"/>
              <a:gd name="connsiteY5" fmla="*/ 786066 h 4184987"/>
              <a:gd name="connsiteX6" fmla="*/ 49002 w 3862120"/>
              <a:gd name="connsiteY6" fmla="*/ 88876 h 4184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62120" h="4184987">
                <a:moveTo>
                  <a:pt x="72632" y="0"/>
                </a:moveTo>
                <a:lnTo>
                  <a:pt x="3862120" y="0"/>
                </a:lnTo>
                <a:lnTo>
                  <a:pt x="3862120" y="4018645"/>
                </a:lnTo>
                <a:lnTo>
                  <a:pt x="3849798" y="4027418"/>
                </a:lnTo>
                <a:cubicBezTo>
                  <a:pt x="3719683" y="4109955"/>
                  <a:pt x="3573386" y="4162923"/>
                  <a:pt x="3409263" y="4179440"/>
                </a:cubicBezTo>
                <a:cubicBezTo>
                  <a:pt x="2096287" y="4311293"/>
                  <a:pt x="139121" y="2061203"/>
                  <a:pt x="11722" y="786066"/>
                </a:cubicBezTo>
                <a:cubicBezTo>
                  <a:pt x="-12601" y="547032"/>
                  <a:pt x="1454" y="312714"/>
                  <a:pt x="49002" y="88876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2E96AA19-84B7-430D-8805-1FC9E3124763}"/>
              </a:ext>
            </a:extLst>
          </p:cNvPr>
          <p:cNvSpPr/>
          <p:nvPr userDrawn="1"/>
        </p:nvSpPr>
        <p:spPr>
          <a:xfrm>
            <a:off x="7390509" y="0"/>
            <a:ext cx="4801492" cy="4017462"/>
          </a:xfrm>
          <a:custGeom>
            <a:avLst/>
            <a:gdLst>
              <a:gd name="connsiteX0" fmla="*/ 2063453 w 4801492"/>
              <a:gd name="connsiteY0" fmla="*/ 0 h 4017462"/>
              <a:gd name="connsiteX1" fmla="*/ 4801492 w 4801492"/>
              <a:gd name="connsiteY1" fmla="*/ 0 h 4017462"/>
              <a:gd name="connsiteX2" fmla="*/ 4801492 w 4801492"/>
              <a:gd name="connsiteY2" fmla="*/ 3620618 h 4017462"/>
              <a:gd name="connsiteX3" fmla="*/ 4540736 w 4801492"/>
              <a:gd name="connsiteY3" fmla="*/ 3716067 h 4017462"/>
              <a:gd name="connsiteX4" fmla="*/ 3663094 w 4801492"/>
              <a:gd name="connsiteY4" fmla="*/ 3936581 h 4017462"/>
              <a:gd name="connsiteX5" fmla="*/ 88907 w 4801492"/>
              <a:gd name="connsiteY5" fmla="*/ 3068732 h 4017462"/>
              <a:gd name="connsiteX6" fmla="*/ 1919217 w 4801492"/>
              <a:gd name="connsiteY6" fmla="*/ 89093 h 4017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01492" h="4017462">
                <a:moveTo>
                  <a:pt x="2063453" y="0"/>
                </a:moveTo>
                <a:lnTo>
                  <a:pt x="4801492" y="0"/>
                </a:lnTo>
                <a:lnTo>
                  <a:pt x="4801492" y="3620618"/>
                </a:lnTo>
                <a:lnTo>
                  <a:pt x="4540736" y="3716067"/>
                </a:lnTo>
                <a:cubicBezTo>
                  <a:pt x="4233752" y="3819100"/>
                  <a:pt x="3933647" y="3892546"/>
                  <a:pt x="3663094" y="3936581"/>
                </a:cubicBezTo>
                <a:cubicBezTo>
                  <a:pt x="2220509" y="4171435"/>
                  <a:pt x="473668" y="3898601"/>
                  <a:pt x="88907" y="3068732"/>
                </a:cubicBezTo>
                <a:cubicBezTo>
                  <a:pt x="-310361" y="2209732"/>
                  <a:pt x="694404" y="899190"/>
                  <a:pt x="1919217" y="89093"/>
                </a:cubicBezTo>
                <a:close/>
              </a:path>
            </a:pathLst>
          </a:custGeom>
          <a:solidFill>
            <a:srgbClr val="8DB1C4">
              <a:alpha val="80000"/>
            </a:srgb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55505493-CC1B-41AE-918B-437E8B2856BA}"/>
              </a:ext>
            </a:extLst>
          </p:cNvPr>
          <p:cNvSpPr/>
          <p:nvPr userDrawn="1"/>
        </p:nvSpPr>
        <p:spPr>
          <a:xfrm>
            <a:off x="6831384" y="0"/>
            <a:ext cx="5360617" cy="3642236"/>
          </a:xfrm>
          <a:custGeom>
            <a:avLst/>
            <a:gdLst>
              <a:gd name="connsiteX0" fmla="*/ 320472 w 5360617"/>
              <a:gd name="connsiteY0" fmla="*/ 0 h 3642236"/>
              <a:gd name="connsiteX1" fmla="*/ 5360617 w 5360617"/>
              <a:gd name="connsiteY1" fmla="*/ 0 h 3642236"/>
              <a:gd name="connsiteX2" fmla="*/ 5360617 w 5360617"/>
              <a:gd name="connsiteY2" fmla="*/ 3227025 h 3642236"/>
              <a:gd name="connsiteX3" fmla="*/ 5351732 w 5360617"/>
              <a:gd name="connsiteY3" fmla="*/ 3232995 h 3642236"/>
              <a:gd name="connsiteX4" fmla="*/ 4028504 w 5360617"/>
              <a:gd name="connsiteY4" fmla="*/ 3642236 h 3642236"/>
              <a:gd name="connsiteX5" fmla="*/ 0 w 5360617"/>
              <a:gd name="connsiteY5" fmla="*/ 624863 h 3642236"/>
              <a:gd name="connsiteX6" fmla="*/ 286013 w 5360617"/>
              <a:gd name="connsiteY6" fmla="*/ 23255 h 364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60617" h="3642236">
                <a:moveTo>
                  <a:pt x="320472" y="0"/>
                </a:moveTo>
                <a:lnTo>
                  <a:pt x="5360617" y="0"/>
                </a:lnTo>
                <a:lnTo>
                  <a:pt x="5360617" y="3227025"/>
                </a:lnTo>
                <a:lnTo>
                  <a:pt x="5351732" y="3232995"/>
                </a:lnTo>
                <a:cubicBezTo>
                  <a:pt x="4933670" y="3488463"/>
                  <a:pt x="4475851" y="3642236"/>
                  <a:pt x="4028504" y="3642236"/>
                </a:cubicBezTo>
                <a:cubicBezTo>
                  <a:pt x="2596996" y="3642236"/>
                  <a:pt x="0" y="2067594"/>
                  <a:pt x="0" y="624863"/>
                </a:cubicBezTo>
                <a:cubicBezTo>
                  <a:pt x="0" y="354352"/>
                  <a:pt x="105767" y="161846"/>
                  <a:pt x="286013" y="23255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6181426F-5F00-40E9-AA9A-0496C69403A1}"/>
              </a:ext>
            </a:extLst>
          </p:cNvPr>
          <p:cNvSpPr/>
          <p:nvPr userDrawn="1"/>
        </p:nvSpPr>
        <p:spPr>
          <a:xfrm>
            <a:off x="11397987" y="3867634"/>
            <a:ext cx="794014" cy="1182847"/>
          </a:xfrm>
          <a:custGeom>
            <a:avLst/>
            <a:gdLst>
              <a:gd name="connsiteX0" fmla="*/ 794014 w 794014"/>
              <a:gd name="connsiteY0" fmla="*/ 0 h 1182847"/>
              <a:gd name="connsiteX1" fmla="*/ 794014 w 794014"/>
              <a:gd name="connsiteY1" fmla="*/ 1127001 h 1182847"/>
              <a:gd name="connsiteX2" fmla="*/ 772413 w 794014"/>
              <a:gd name="connsiteY2" fmla="*/ 1134386 h 1182847"/>
              <a:gd name="connsiteX3" fmla="*/ 89247 w 794014"/>
              <a:gd name="connsiteY3" fmla="*/ 1098613 h 1182847"/>
              <a:gd name="connsiteX4" fmla="*/ 265906 w 794014"/>
              <a:gd name="connsiteY4" fmla="*/ 295654 h 1182847"/>
              <a:gd name="connsiteX5" fmla="*/ 696781 w 794014"/>
              <a:gd name="connsiteY5" fmla="*/ 18560 h 11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014" h="1182847">
                <a:moveTo>
                  <a:pt x="794014" y="0"/>
                </a:moveTo>
                <a:lnTo>
                  <a:pt x="794014" y="1127001"/>
                </a:lnTo>
                <a:lnTo>
                  <a:pt x="772413" y="1134386"/>
                </a:lnTo>
                <a:cubicBezTo>
                  <a:pt x="496558" y="1208896"/>
                  <a:pt x="195467" y="1197878"/>
                  <a:pt x="89247" y="1098613"/>
                </a:cubicBezTo>
                <a:cubicBezTo>
                  <a:pt x="-80777" y="939851"/>
                  <a:pt x="-224" y="579696"/>
                  <a:pt x="265906" y="295654"/>
                </a:cubicBezTo>
                <a:cubicBezTo>
                  <a:pt x="399007" y="154723"/>
                  <a:pt x="553905" y="59098"/>
                  <a:pt x="696781" y="18560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1" name="Figure">
            <a:extLst>
              <a:ext uri="{FF2B5EF4-FFF2-40B4-BE49-F238E27FC236}">
                <a16:creationId xmlns:a16="http://schemas.microsoft.com/office/drawing/2014/main" id="{02F9D22C-FFCD-4847-91CD-37F4DCBD6075}"/>
              </a:ext>
            </a:extLst>
          </p:cNvPr>
          <p:cNvSpPr/>
          <p:nvPr userDrawn="1"/>
        </p:nvSpPr>
        <p:spPr>
          <a:xfrm>
            <a:off x="6384032" y="1648242"/>
            <a:ext cx="875650" cy="8921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2" name="Figure">
            <a:extLst>
              <a:ext uri="{FF2B5EF4-FFF2-40B4-BE49-F238E27FC236}">
                <a16:creationId xmlns:a16="http://schemas.microsoft.com/office/drawing/2014/main" id="{7CFEC0CE-FB43-4333-9853-7B5924F208AC}"/>
              </a:ext>
            </a:extLst>
          </p:cNvPr>
          <p:cNvSpPr/>
          <p:nvPr userDrawn="1"/>
        </p:nvSpPr>
        <p:spPr>
          <a:xfrm>
            <a:off x="10139329" y="4982756"/>
            <a:ext cx="604493" cy="5757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20025898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A99D1-0EB2-4F85-B3D4-6C023514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55DBC6-1891-4D4E-9B5A-BDCEB78A6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FBD2E-EA4D-44AC-A4BD-0C5AA1711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36BF70-2F27-4F4F-AE2F-40921995510B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823A92-51DF-4C54-8C80-1CB70C893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992B16-E765-430F-BC89-DE8C32948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F6E6B168-566B-473C-AA14-D312485321F1}"/>
              </a:ext>
            </a:extLst>
          </p:cNvPr>
          <p:cNvSpPr/>
          <p:nvPr userDrawn="1"/>
        </p:nvSpPr>
        <p:spPr>
          <a:xfrm>
            <a:off x="8329881" y="1"/>
            <a:ext cx="3862120" cy="4184987"/>
          </a:xfrm>
          <a:custGeom>
            <a:avLst/>
            <a:gdLst>
              <a:gd name="connsiteX0" fmla="*/ 72632 w 3862120"/>
              <a:gd name="connsiteY0" fmla="*/ 0 h 4184987"/>
              <a:gd name="connsiteX1" fmla="*/ 3862120 w 3862120"/>
              <a:gd name="connsiteY1" fmla="*/ 0 h 4184987"/>
              <a:gd name="connsiteX2" fmla="*/ 3862120 w 3862120"/>
              <a:gd name="connsiteY2" fmla="*/ 4018645 h 4184987"/>
              <a:gd name="connsiteX3" fmla="*/ 3849798 w 3862120"/>
              <a:gd name="connsiteY3" fmla="*/ 4027418 h 4184987"/>
              <a:gd name="connsiteX4" fmla="*/ 3409263 w 3862120"/>
              <a:gd name="connsiteY4" fmla="*/ 4179440 h 4184987"/>
              <a:gd name="connsiteX5" fmla="*/ 11722 w 3862120"/>
              <a:gd name="connsiteY5" fmla="*/ 786066 h 4184987"/>
              <a:gd name="connsiteX6" fmla="*/ 49002 w 3862120"/>
              <a:gd name="connsiteY6" fmla="*/ 88876 h 4184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62120" h="4184987">
                <a:moveTo>
                  <a:pt x="72632" y="0"/>
                </a:moveTo>
                <a:lnTo>
                  <a:pt x="3862120" y="0"/>
                </a:lnTo>
                <a:lnTo>
                  <a:pt x="3862120" y="4018645"/>
                </a:lnTo>
                <a:lnTo>
                  <a:pt x="3849798" y="4027418"/>
                </a:lnTo>
                <a:cubicBezTo>
                  <a:pt x="3719683" y="4109955"/>
                  <a:pt x="3573386" y="4162923"/>
                  <a:pt x="3409263" y="4179440"/>
                </a:cubicBezTo>
                <a:cubicBezTo>
                  <a:pt x="2096287" y="4311293"/>
                  <a:pt x="139121" y="2061203"/>
                  <a:pt x="11722" y="786066"/>
                </a:cubicBezTo>
                <a:cubicBezTo>
                  <a:pt x="-12601" y="547032"/>
                  <a:pt x="1454" y="312714"/>
                  <a:pt x="49002" y="88876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2E96AA19-84B7-430D-8805-1FC9E3124763}"/>
              </a:ext>
            </a:extLst>
          </p:cNvPr>
          <p:cNvSpPr/>
          <p:nvPr userDrawn="1"/>
        </p:nvSpPr>
        <p:spPr>
          <a:xfrm>
            <a:off x="7390509" y="0"/>
            <a:ext cx="4801492" cy="4017462"/>
          </a:xfrm>
          <a:custGeom>
            <a:avLst/>
            <a:gdLst>
              <a:gd name="connsiteX0" fmla="*/ 2063453 w 4801492"/>
              <a:gd name="connsiteY0" fmla="*/ 0 h 4017462"/>
              <a:gd name="connsiteX1" fmla="*/ 4801492 w 4801492"/>
              <a:gd name="connsiteY1" fmla="*/ 0 h 4017462"/>
              <a:gd name="connsiteX2" fmla="*/ 4801492 w 4801492"/>
              <a:gd name="connsiteY2" fmla="*/ 3620618 h 4017462"/>
              <a:gd name="connsiteX3" fmla="*/ 4540736 w 4801492"/>
              <a:gd name="connsiteY3" fmla="*/ 3716067 h 4017462"/>
              <a:gd name="connsiteX4" fmla="*/ 3663094 w 4801492"/>
              <a:gd name="connsiteY4" fmla="*/ 3936581 h 4017462"/>
              <a:gd name="connsiteX5" fmla="*/ 88907 w 4801492"/>
              <a:gd name="connsiteY5" fmla="*/ 3068732 h 4017462"/>
              <a:gd name="connsiteX6" fmla="*/ 1919217 w 4801492"/>
              <a:gd name="connsiteY6" fmla="*/ 89093 h 4017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01492" h="4017462">
                <a:moveTo>
                  <a:pt x="2063453" y="0"/>
                </a:moveTo>
                <a:lnTo>
                  <a:pt x="4801492" y="0"/>
                </a:lnTo>
                <a:lnTo>
                  <a:pt x="4801492" y="3620618"/>
                </a:lnTo>
                <a:lnTo>
                  <a:pt x="4540736" y="3716067"/>
                </a:lnTo>
                <a:cubicBezTo>
                  <a:pt x="4233752" y="3819100"/>
                  <a:pt x="3933647" y="3892546"/>
                  <a:pt x="3663094" y="3936581"/>
                </a:cubicBezTo>
                <a:cubicBezTo>
                  <a:pt x="2220509" y="4171435"/>
                  <a:pt x="473668" y="3898601"/>
                  <a:pt x="88907" y="3068732"/>
                </a:cubicBezTo>
                <a:cubicBezTo>
                  <a:pt x="-310361" y="2209732"/>
                  <a:pt x="694404" y="899190"/>
                  <a:pt x="1919217" y="89093"/>
                </a:cubicBezTo>
                <a:close/>
              </a:path>
            </a:pathLst>
          </a:custGeom>
          <a:solidFill>
            <a:srgbClr val="8DB1C4">
              <a:alpha val="80000"/>
            </a:srgb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6181426F-5F00-40E9-AA9A-0496C69403A1}"/>
              </a:ext>
            </a:extLst>
          </p:cNvPr>
          <p:cNvSpPr/>
          <p:nvPr userDrawn="1"/>
        </p:nvSpPr>
        <p:spPr>
          <a:xfrm>
            <a:off x="11397987" y="3867634"/>
            <a:ext cx="794014" cy="1182847"/>
          </a:xfrm>
          <a:custGeom>
            <a:avLst/>
            <a:gdLst>
              <a:gd name="connsiteX0" fmla="*/ 794014 w 794014"/>
              <a:gd name="connsiteY0" fmla="*/ 0 h 1182847"/>
              <a:gd name="connsiteX1" fmla="*/ 794014 w 794014"/>
              <a:gd name="connsiteY1" fmla="*/ 1127001 h 1182847"/>
              <a:gd name="connsiteX2" fmla="*/ 772413 w 794014"/>
              <a:gd name="connsiteY2" fmla="*/ 1134386 h 1182847"/>
              <a:gd name="connsiteX3" fmla="*/ 89247 w 794014"/>
              <a:gd name="connsiteY3" fmla="*/ 1098613 h 1182847"/>
              <a:gd name="connsiteX4" fmla="*/ 265906 w 794014"/>
              <a:gd name="connsiteY4" fmla="*/ 295654 h 1182847"/>
              <a:gd name="connsiteX5" fmla="*/ 696781 w 794014"/>
              <a:gd name="connsiteY5" fmla="*/ 18560 h 11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014" h="1182847">
                <a:moveTo>
                  <a:pt x="794014" y="0"/>
                </a:moveTo>
                <a:lnTo>
                  <a:pt x="794014" y="1127001"/>
                </a:lnTo>
                <a:lnTo>
                  <a:pt x="772413" y="1134386"/>
                </a:lnTo>
                <a:cubicBezTo>
                  <a:pt x="496558" y="1208896"/>
                  <a:pt x="195467" y="1197878"/>
                  <a:pt x="89247" y="1098613"/>
                </a:cubicBezTo>
                <a:cubicBezTo>
                  <a:pt x="-80777" y="939851"/>
                  <a:pt x="-224" y="579696"/>
                  <a:pt x="265906" y="295654"/>
                </a:cubicBezTo>
                <a:cubicBezTo>
                  <a:pt x="399007" y="154723"/>
                  <a:pt x="553905" y="59098"/>
                  <a:pt x="696781" y="18560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1" name="Figure">
            <a:extLst>
              <a:ext uri="{FF2B5EF4-FFF2-40B4-BE49-F238E27FC236}">
                <a16:creationId xmlns:a16="http://schemas.microsoft.com/office/drawing/2014/main" id="{02F9D22C-FFCD-4847-91CD-37F4DCBD6075}"/>
              </a:ext>
            </a:extLst>
          </p:cNvPr>
          <p:cNvSpPr/>
          <p:nvPr userDrawn="1"/>
        </p:nvSpPr>
        <p:spPr>
          <a:xfrm>
            <a:off x="6384032" y="1648242"/>
            <a:ext cx="875650" cy="8921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2" name="Figure">
            <a:extLst>
              <a:ext uri="{FF2B5EF4-FFF2-40B4-BE49-F238E27FC236}">
                <a16:creationId xmlns:a16="http://schemas.microsoft.com/office/drawing/2014/main" id="{7CFEC0CE-FB43-4333-9853-7B5924F208AC}"/>
              </a:ext>
            </a:extLst>
          </p:cNvPr>
          <p:cNvSpPr/>
          <p:nvPr userDrawn="1"/>
        </p:nvSpPr>
        <p:spPr>
          <a:xfrm>
            <a:off x="10139329" y="4982756"/>
            <a:ext cx="604493" cy="5757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5E753932-AFD4-4105-9EE3-5F7970C933D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1385" y="0"/>
            <a:ext cx="5360617" cy="3642236"/>
          </a:xfrm>
          <a:custGeom>
            <a:avLst/>
            <a:gdLst>
              <a:gd name="connsiteX0" fmla="*/ 320472 w 5360617"/>
              <a:gd name="connsiteY0" fmla="*/ 0 h 3642236"/>
              <a:gd name="connsiteX1" fmla="*/ 5360617 w 5360617"/>
              <a:gd name="connsiteY1" fmla="*/ 0 h 3642236"/>
              <a:gd name="connsiteX2" fmla="*/ 5360617 w 5360617"/>
              <a:gd name="connsiteY2" fmla="*/ 3227025 h 3642236"/>
              <a:gd name="connsiteX3" fmla="*/ 5351732 w 5360617"/>
              <a:gd name="connsiteY3" fmla="*/ 3232995 h 3642236"/>
              <a:gd name="connsiteX4" fmla="*/ 4028504 w 5360617"/>
              <a:gd name="connsiteY4" fmla="*/ 3642236 h 3642236"/>
              <a:gd name="connsiteX5" fmla="*/ 0 w 5360617"/>
              <a:gd name="connsiteY5" fmla="*/ 624863 h 3642236"/>
              <a:gd name="connsiteX6" fmla="*/ 286013 w 5360617"/>
              <a:gd name="connsiteY6" fmla="*/ 23255 h 364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60617" h="3642236">
                <a:moveTo>
                  <a:pt x="320472" y="0"/>
                </a:moveTo>
                <a:lnTo>
                  <a:pt x="5360617" y="0"/>
                </a:lnTo>
                <a:lnTo>
                  <a:pt x="5360617" y="3227025"/>
                </a:lnTo>
                <a:lnTo>
                  <a:pt x="5351732" y="3232995"/>
                </a:lnTo>
                <a:cubicBezTo>
                  <a:pt x="4933670" y="3488463"/>
                  <a:pt x="4475851" y="3642236"/>
                  <a:pt x="4028504" y="3642236"/>
                </a:cubicBezTo>
                <a:cubicBezTo>
                  <a:pt x="2596996" y="3642236"/>
                  <a:pt x="0" y="2067594"/>
                  <a:pt x="0" y="624863"/>
                </a:cubicBezTo>
                <a:cubicBezTo>
                  <a:pt x="0" y="354352"/>
                  <a:pt x="105767" y="161846"/>
                  <a:pt x="286013" y="23255"/>
                </a:cubicBezTo>
                <a:close/>
              </a:path>
            </a:pathLst>
          </a:custGeom>
        </p:spPr>
        <p:txBody>
          <a:bodyPr wrap="square" tIns="1097280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6397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A99D1-0EB2-4F85-B3D4-6C023514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55DBC6-1891-4D4E-9B5A-BDCEB78A6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FBD2E-EA4D-44AC-A4BD-0C5AA1711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65A52-8FF4-42C4-9F09-753D3F8D2140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823A92-51DF-4C54-8C80-1CB70C893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992B16-E765-430F-BC89-DE8C32948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F6E6B168-566B-473C-AA14-D312485321F1}"/>
              </a:ext>
            </a:extLst>
          </p:cNvPr>
          <p:cNvSpPr/>
          <p:nvPr userDrawn="1"/>
        </p:nvSpPr>
        <p:spPr>
          <a:xfrm>
            <a:off x="8329881" y="1"/>
            <a:ext cx="3862120" cy="4184987"/>
          </a:xfrm>
          <a:custGeom>
            <a:avLst/>
            <a:gdLst>
              <a:gd name="connsiteX0" fmla="*/ 72632 w 3862120"/>
              <a:gd name="connsiteY0" fmla="*/ 0 h 4184987"/>
              <a:gd name="connsiteX1" fmla="*/ 3862120 w 3862120"/>
              <a:gd name="connsiteY1" fmla="*/ 0 h 4184987"/>
              <a:gd name="connsiteX2" fmla="*/ 3862120 w 3862120"/>
              <a:gd name="connsiteY2" fmla="*/ 4018645 h 4184987"/>
              <a:gd name="connsiteX3" fmla="*/ 3849798 w 3862120"/>
              <a:gd name="connsiteY3" fmla="*/ 4027418 h 4184987"/>
              <a:gd name="connsiteX4" fmla="*/ 3409263 w 3862120"/>
              <a:gd name="connsiteY4" fmla="*/ 4179440 h 4184987"/>
              <a:gd name="connsiteX5" fmla="*/ 11722 w 3862120"/>
              <a:gd name="connsiteY5" fmla="*/ 786066 h 4184987"/>
              <a:gd name="connsiteX6" fmla="*/ 49002 w 3862120"/>
              <a:gd name="connsiteY6" fmla="*/ 88876 h 4184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62120" h="4184987">
                <a:moveTo>
                  <a:pt x="72632" y="0"/>
                </a:moveTo>
                <a:lnTo>
                  <a:pt x="3862120" y="0"/>
                </a:lnTo>
                <a:lnTo>
                  <a:pt x="3862120" y="4018645"/>
                </a:lnTo>
                <a:lnTo>
                  <a:pt x="3849798" y="4027418"/>
                </a:lnTo>
                <a:cubicBezTo>
                  <a:pt x="3719683" y="4109955"/>
                  <a:pt x="3573386" y="4162923"/>
                  <a:pt x="3409263" y="4179440"/>
                </a:cubicBezTo>
                <a:cubicBezTo>
                  <a:pt x="2096287" y="4311293"/>
                  <a:pt x="139121" y="2061203"/>
                  <a:pt x="11722" y="786066"/>
                </a:cubicBezTo>
                <a:cubicBezTo>
                  <a:pt x="-12601" y="547032"/>
                  <a:pt x="1454" y="312714"/>
                  <a:pt x="49002" y="88876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2E96AA19-84B7-430D-8805-1FC9E3124763}"/>
              </a:ext>
            </a:extLst>
          </p:cNvPr>
          <p:cNvSpPr/>
          <p:nvPr userDrawn="1"/>
        </p:nvSpPr>
        <p:spPr>
          <a:xfrm>
            <a:off x="7390509" y="0"/>
            <a:ext cx="4801492" cy="4017462"/>
          </a:xfrm>
          <a:custGeom>
            <a:avLst/>
            <a:gdLst>
              <a:gd name="connsiteX0" fmla="*/ 2063453 w 4801492"/>
              <a:gd name="connsiteY0" fmla="*/ 0 h 4017462"/>
              <a:gd name="connsiteX1" fmla="*/ 4801492 w 4801492"/>
              <a:gd name="connsiteY1" fmla="*/ 0 h 4017462"/>
              <a:gd name="connsiteX2" fmla="*/ 4801492 w 4801492"/>
              <a:gd name="connsiteY2" fmla="*/ 3620618 h 4017462"/>
              <a:gd name="connsiteX3" fmla="*/ 4540736 w 4801492"/>
              <a:gd name="connsiteY3" fmla="*/ 3716067 h 4017462"/>
              <a:gd name="connsiteX4" fmla="*/ 3663094 w 4801492"/>
              <a:gd name="connsiteY4" fmla="*/ 3936581 h 4017462"/>
              <a:gd name="connsiteX5" fmla="*/ 88907 w 4801492"/>
              <a:gd name="connsiteY5" fmla="*/ 3068732 h 4017462"/>
              <a:gd name="connsiteX6" fmla="*/ 1919217 w 4801492"/>
              <a:gd name="connsiteY6" fmla="*/ 89093 h 4017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01492" h="4017462">
                <a:moveTo>
                  <a:pt x="2063453" y="0"/>
                </a:moveTo>
                <a:lnTo>
                  <a:pt x="4801492" y="0"/>
                </a:lnTo>
                <a:lnTo>
                  <a:pt x="4801492" y="3620618"/>
                </a:lnTo>
                <a:lnTo>
                  <a:pt x="4540736" y="3716067"/>
                </a:lnTo>
                <a:cubicBezTo>
                  <a:pt x="4233752" y="3819100"/>
                  <a:pt x="3933647" y="3892546"/>
                  <a:pt x="3663094" y="3936581"/>
                </a:cubicBezTo>
                <a:cubicBezTo>
                  <a:pt x="2220509" y="4171435"/>
                  <a:pt x="473668" y="3898601"/>
                  <a:pt x="88907" y="3068732"/>
                </a:cubicBezTo>
                <a:cubicBezTo>
                  <a:pt x="-310361" y="2209732"/>
                  <a:pt x="694404" y="899190"/>
                  <a:pt x="1919217" y="89093"/>
                </a:cubicBezTo>
                <a:close/>
              </a:path>
            </a:pathLst>
          </a:custGeom>
          <a:solidFill>
            <a:srgbClr val="8DB1C4">
              <a:alpha val="80000"/>
            </a:srgb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55505493-CC1B-41AE-918B-437E8B2856BA}"/>
              </a:ext>
            </a:extLst>
          </p:cNvPr>
          <p:cNvSpPr/>
          <p:nvPr userDrawn="1"/>
        </p:nvSpPr>
        <p:spPr>
          <a:xfrm>
            <a:off x="6831384" y="0"/>
            <a:ext cx="5360617" cy="3642236"/>
          </a:xfrm>
          <a:custGeom>
            <a:avLst/>
            <a:gdLst>
              <a:gd name="connsiteX0" fmla="*/ 320472 w 5360617"/>
              <a:gd name="connsiteY0" fmla="*/ 0 h 3642236"/>
              <a:gd name="connsiteX1" fmla="*/ 5360617 w 5360617"/>
              <a:gd name="connsiteY1" fmla="*/ 0 h 3642236"/>
              <a:gd name="connsiteX2" fmla="*/ 5360617 w 5360617"/>
              <a:gd name="connsiteY2" fmla="*/ 3227025 h 3642236"/>
              <a:gd name="connsiteX3" fmla="*/ 5351732 w 5360617"/>
              <a:gd name="connsiteY3" fmla="*/ 3232995 h 3642236"/>
              <a:gd name="connsiteX4" fmla="*/ 4028504 w 5360617"/>
              <a:gd name="connsiteY4" fmla="*/ 3642236 h 3642236"/>
              <a:gd name="connsiteX5" fmla="*/ 0 w 5360617"/>
              <a:gd name="connsiteY5" fmla="*/ 624863 h 3642236"/>
              <a:gd name="connsiteX6" fmla="*/ 286013 w 5360617"/>
              <a:gd name="connsiteY6" fmla="*/ 23255 h 364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60617" h="3642236">
                <a:moveTo>
                  <a:pt x="320472" y="0"/>
                </a:moveTo>
                <a:lnTo>
                  <a:pt x="5360617" y="0"/>
                </a:lnTo>
                <a:lnTo>
                  <a:pt x="5360617" y="3227025"/>
                </a:lnTo>
                <a:lnTo>
                  <a:pt x="5351732" y="3232995"/>
                </a:lnTo>
                <a:cubicBezTo>
                  <a:pt x="4933670" y="3488463"/>
                  <a:pt x="4475851" y="3642236"/>
                  <a:pt x="4028504" y="3642236"/>
                </a:cubicBezTo>
                <a:cubicBezTo>
                  <a:pt x="2596996" y="3642236"/>
                  <a:pt x="0" y="2067594"/>
                  <a:pt x="0" y="624863"/>
                </a:cubicBezTo>
                <a:cubicBezTo>
                  <a:pt x="0" y="354352"/>
                  <a:pt x="105767" y="161846"/>
                  <a:pt x="286013" y="23255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6181426F-5F00-40E9-AA9A-0496C69403A1}"/>
              </a:ext>
            </a:extLst>
          </p:cNvPr>
          <p:cNvSpPr/>
          <p:nvPr userDrawn="1"/>
        </p:nvSpPr>
        <p:spPr>
          <a:xfrm>
            <a:off x="11397987" y="3867634"/>
            <a:ext cx="794014" cy="1182847"/>
          </a:xfrm>
          <a:custGeom>
            <a:avLst/>
            <a:gdLst>
              <a:gd name="connsiteX0" fmla="*/ 794014 w 794014"/>
              <a:gd name="connsiteY0" fmla="*/ 0 h 1182847"/>
              <a:gd name="connsiteX1" fmla="*/ 794014 w 794014"/>
              <a:gd name="connsiteY1" fmla="*/ 1127001 h 1182847"/>
              <a:gd name="connsiteX2" fmla="*/ 772413 w 794014"/>
              <a:gd name="connsiteY2" fmla="*/ 1134386 h 1182847"/>
              <a:gd name="connsiteX3" fmla="*/ 89247 w 794014"/>
              <a:gd name="connsiteY3" fmla="*/ 1098613 h 1182847"/>
              <a:gd name="connsiteX4" fmla="*/ 265906 w 794014"/>
              <a:gd name="connsiteY4" fmla="*/ 295654 h 1182847"/>
              <a:gd name="connsiteX5" fmla="*/ 696781 w 794014"/>
              <a:gd name="connsiteY5" fmla="*/ 18560 h 11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014" h="1182847">
                <a:moveTo>
                  <a:pt x="794014" y="0"/>
                </a:moveTo>
                <a:lnTo>
                  <a:pt x="794014" y="1127001"/>
                </a:lnTo>
                <a:lnTo>
                  <a:pt x="772413" y="1134386"/>
                </a:lnTo>
                <a:cubicBezTo>
                  <a:pt x="496558" y="1208896"/>
                  <a:pt x="195467" y="1197878"/>
                  <a:pt x="89247" y="1098613"/>
                </a:cubicBezTo>
                <a:cubicBezTo>
                  <a:pt x="-80777" y="939851"/>
                  <a:pt x="-224" y="579696"/>
                  <a:pt x="265906" y="295654"/>
                </a:cubicBezTo>
                <a:cubicBezTo>
                  <a:pt x="399007" y="154723"/>
                  <a:pt x="553905" y="59098"/>
                  <a:pt x="696781" y="18560"/>
                </a:cubicBezTo>
                <a:close/>
              </a:path>
            </a:pathLst>
          </a:custGeom>
          <a:solidFill>
            <a:schemeClr val="bg2">
              <a:alpha val="60000"/>
            </a:scheme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R="0" lvl="0" indent="0" algn="ctr" defTabSz="45720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1" name="Figure">
            <a:extLst>
              <a:ext uri="{FF2B5EF4-FFF2-40B4-BE49-F238E27FC236}">
                <a16:creationId xmlns:a16="http://schemas.microsoft.com/office/drawing/2014/main" id="{02F9D22C-FFCD-4847-91CD-37F4DCBD6075}"/>
              </a:ext>
            </a:extLst>
          </p:cNvPr>
          <p:cNvSpPr/>
          <p:nvPr userDrawn="1"/>
        </p:nvSpPr>
        <p:spPr>
          <a:xfrm>
            <a:off x="6384032" y="1648242"/>
            <a:ext cx="875650" cy="8921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bg2">
              <a:alpha val="70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2" name="Figure">
            <a:extLst>
              <a:ext uri="{FF2B5EF4-FFF2-40B4-BE49-F238E27FC236}">
                <a16:creationId xmlns:a16="http://schemas.microsoft.com/office/drawing/2014/main" id="{7CFEC0CE-FB43-4333-9853-7B5924F208AC}"/>
              </a:ext>
            </a:extLst>
          </p:cNvPr>
          <p:cNvSpPr/>
          <p:nvPr userDrawn="1"/>
        </p:nvSpPr>
        <p:spPr>
          <a:xfrm>
            <a:off x="10139329" y="4982756"/>
            <a:ext cx="604493" cy="5757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38155642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 Photo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A99D1-0EB2-4F85-B3D4-6C023514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55DBC6-1891-4D4E-9B5A-BDCEB78A6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FBD2E-EA4D-44AC-A4BD-0C5AA1711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AC9885-1C77-4803-BB4E-54DD061B14B0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823A92-51DF-4C54-8C80-1CB70C893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992B16-E765-430F-BC89-DE8C32948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F6E6B168-566B-473C-AA14-D312485321F1}"/>
              </a:ext>
            </a:extLst>
          </p:cNvPr>
          <p:cNvSpPr/>
          <p:nvPr userDrawn="1"/>
        </p:nvSpPr>
        <p:spPr>
          <a:xfrm>
            <a:off x="8329881" y="1"/>
            <a:ext cx="3862120" cy="4184987"/>
          </a:xfrm>
          <a:custGeom>
            <a:avLst/>
            <a:gdLst>
              <a:gd name="connsiteX0" fmla="*/ 72632 w 3862120"/>
              <a:gd name="connsiteY0" fmla="*/ 0 h 4184987"/>
              <a:gd name="connsiteX1" fmla="*/ 3862120 w 3862120"/>
              <a:gd name="connsiteY1" fmla="*/ 0 h 4184987"/>
              <a:gd name="connsiteX2" fmla="*/ 3862120 w 3862120"/>
              <a:gd name="connsiteY2" fmla="*/ 4018645 h 4184987"/>
              <a:gd name="connsiteX3" fmla="*/ 3849798 w 3862120"/>
              <a:gd name="connsiteY3" fmla="*/ 4027418 h 4184987"/>
              <a:gd name="connsiteX4" fmla="*/ 3409263 w 3862120"/>
              <a:gd name="connsiteY4" fmla="*/ 4179440 h 4184987"/>
              <a:gd name="connsiteX5" fmla="*/ 11722 w 3862120"/>
              <a:gd name="connsiteY5" fmla="*/ 786066 h 4184987"/>
              <a:gd name="connsiteX6" fmla="*/ 49002 w 3862120"/>
              <a:gd name="connsiteY6" fmla="*/ 88876 h 4184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62120" h="4184987">
                <a:moveTo>
                  <a:pt x="72632" y="0"/>
                </a:moveTo>
                <a:lnTo>
                  <a:pt x="3862120" y="0"/>
                </a:lnTo>
                <a:lnTo>
                  <a:pt x="3862120" y="4018645"/>
                </a:lnTo>
                <a:lnTo>
                  <a:pt x="3849798" y="4027418"/>
                </a:lnTo>
                <a:cubicBezTo>
                  <a:pt x="3719683" y="4109955"/>
                  <a:pt x="3573386" y="4162923"/>
                  <a:pt x="3409263" y="4179440"/>
                </a:cubicBezTo>
                <a:cubicBezTo>
                  <a:pt x="2096287" y="4311293"/>
                  <a:pt x="139121" y="2061203"/>
                  <a:pt x="11722" y="786066"/>
                </a:cubicBezTo>
                <a:cubicBezTo>
                  <a:pt x="-12601" y="547032"/>
                  <a:pt x="1454" y="312714"/>
                  <a:pt x="49002" y="88876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2E96AA19-84B7-430D-8805-1FC9E3124763}"/>
              </a:ext>
            </a:extLst>
          </p:cNvPr>
          <p:cNvSpPr/>
          <p:nvPr userDrawn="1"/>
        </p:nvSpPr>
        <p:spPr>
          <a:xfrm>
            <a:off x="7390509" y="0"/>
            <a:ext cx="4801492" cy="4017462"/>
          </a:xfrm>
          <a:custGeom>
            <a:avLst/>
            <a:gdLst>
              <a:gd name="connsiteX0" fmla="*/ 2063453 w 4801492"/>
              <a:gd name="connsiteY0" fmla="*/ 0 h 4017462"/>
              <a:gd name="connsiteX1" fmla="*/ 4801492 w 4801492"/>
              <a:gd name="connsiteY1" fmla="*/ 0 h 4017462"/>
              <a:gd name="connsiteX2" fmla="*/ 4801492 w 4801492"/>
              <a:gd name="connsiteY2" fmla="*/ 3620618 h 4017462"/>
              <a:gd name="connsiteX3" fmla="*/ 4540736 w 4801492"/>
              <a:gd name="connsiteY3" fmla="*/ 3716067 h 4017462"/>
              <a:gd name="connsiteX4" fmla="*/ 3663094 w 4801492"/>
              <a:gd name="connsiteY4" fmla="*/ 3936581 h 4017462"/>
              <a:gd name="connsiteX5" fmla="*/ 88907 w 4801492"/>
              <a:gd name="connsiteY5" fmla="*/ 3068732 h 4017462"/>
              <a:gd name="connsiteX6" fmla="*/ 1919217 w 4801492"/>
              <a:gd name="connsiteY6" fmla="*/ 89093 h 4017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01492" h="4017462">
                <a:moveTo>
                  <a:pt x="2063453" y="0"/>
                </a:moveTo>
                <a:lnTo>
                  <a:pt x="4801492" y="0"/>
                </a:lnTo>
                <a:lnTo>
                  <a:pt x="4801492" y="3620618"/>
                </a:lnTo>
                <a:lnTo>
                  <a:pt x="4540736" y="3716067"/>
                </a:lnTo>
                <a:cubicBezTo>
                  <a:pt x="4233752" y="3819100"/>
                  <a:pt x="3933647" y="3892546"/>
                  <a:pt x="3663094" y="3936581"/>
                </a:cubicBezTo>
                <a:cubicBezTo>
                  <a:pt x="2220509" y="4171435"/>
                  <a:pt x="473668" y="3898601"/>
                  <a:pt x="88907" y="3068732"/>
                </a:cubicBezTo>
                <a:cubicBezTo>
                  <a:pt x="-310361" y="2209732"/>
                  <a:pt x="694404" y="899190"/>
                  <a:pt x="1919217" y="89093"/>
                </a:cubicBezTo>
                <a:close/>
              </a:path>
            </a:pathLst>
          </a:custGeom>
          <a:solidFill>
            <a:srgbClr val="8DB1C4">
              <a:alpha val="80000"/>
            </a:srgb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6181426F-5F00-40E9-AA9A-0496C69403A1}"/>
              </a:ext>
            </a:extLst>
          </p:cNvPr>
          <p:cNvSpPr/>
          <p:nvPr userDrawn="1"/>
        </p:nvSpPr>
        <p:spPr>
          <a:xfrm>
            <a:off x="11397987" y="3867634"/>
            <a:ext cx="794014" cy="1182847"/>
          </a:xfrm>
          <a:custGeom>
            <a:avLst/>
            <a:gdLst>
              <a:gd name="connsiteX0" fmla="*/ 794014 w 794014"/>
              <a:gd name="connsiteY0" fmla="*/ 0 h 1182847"/>
              <a:gd name="connsiteX1" fmla="*/ 794014 w 794014"/>
              <a:gd name="connsiteY1" fmla="*/ 1127001 h 1182847"/>
              <a:gd name="connsiteX2" fmla="*/ 772413 w 794014"/>
              <a:gd name="connsiteY2" fmla="*/ 1134386 h 1182847"/>
              <a:gd name="connsiteX3" fmla="*/ 89247 w 794014"/>
              <a:gd name="connsiteY3" fmla="*/ 1098613 h 1182847"/>
              <a:gd name="connsiteX4" fmla="*/ 265906 w 794014"/>
              <a:gd name="connsiteY4" fmla="*/ 295654 h 1182847"/>
              <a:gd name="connsiteX5" fmla="*/ 696781 w 794014"/>
              <a:gd name="connsiteY5" fmla="*/ 18560 h 11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014" h="1182847">
                <a:moveTo>
                  <a:pt x="794014" y="0"/>
                </a:moveTo>
                <a:lnTo>
                  <a:pt x="794014" y="1127001"/>
                </a:lnTo>
                <a:lnTo>
                  <a:pt x="772413" y="1134386"/>
                </a:lnTo>
                <a:cubicBezTo>
                  <a:pt x="496558" y="1208896"/>
                  <a:pt x="195467" y="1197878"/>
                  <a:pt x="89247" y="1098613"/>
                </a:cubicBezTo>
                <a:cubicBezTo>
                  <a:pt x="-80777" y="939851"/>
                  <a:pt x="-224" y="579696"/>
                  <a:pt x="265906" y="295654"/>
                </a:cubicBezTo>
                <a:cubicBezTo>
                  <a:pt x="399007" y="154723"/>
                  <a:pt x="553905" y="59098"/>
                  <a:pt x="696781" y="18560"/>
                </a:cubicBezTo>
                <a:close/>
              </a:path>
            </a:pathLst>
          </a:custGeom>
          <a:solidFill>
            <a:schemeClr val="bg2">
              <a:alpha val="60000"/>
            </a:scheme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R="0" lvl="0" indent="0" algn="ctr" defTabSz="45720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1" name="Figure">
            <a:extLst>
              <a:ext uri="{FF2B5EF4-FFF2-40B4-BE49-F238E27FC236}">
                <a16:creationId xmlns:a16="http://schemas.microsoft.com/office/drawing/2014/main" id="{02F9D22C-FFCD-4847-91CD-37F4DCBD6075}"/>
              </a:ext>
            </a:extLst>
          </p:cNvPr>
          <p:cNvSpPr/>
          <p:nvPr userDrawn="1"/>
        </p:nvSpPr>
        <p:spPr>
          <a:xfrm>
            <a:off x="6384032" y="1648242"/>
            <a:ext cx="875650" cy="8921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88" h="18770" extrusionOk="0">
                <a:moveTo>
                  <a:pt x="18567" y="15982"/>
                </a:moveTo>
                <a:cubicBezTo>
                  <a:pt x="20371" y="12782"/>
                  <a:pt x="17299" y="3276"/>
                  <a:pt x="12326" y="688"/>
                </a:cubicBezTo>
                <a:cubicBezTo>
                  <a:pt x="7352" y="-1900"/>
                  <a:pt x="2379" y="3418"/>
                  <a:pt x="575" y="6665"/>
                </a:cubicBezTo>
                <a:cubicBezTo>
                  <a:pt x="-1229" y="9865"/>
                  <a:pt x="1355" y="14571"/>
                  <a:pt x="6329" y="17159"/>
                </a:cubicBezTo>
                <a:cubicBezTo>
                  <a:pt x="11253" y="19700"/>
                  <a:pt x="16763" y="19182"/>
                  <a:pt x="18567" y="15982"/>
                </a:cubicBezTo>
                <a:close/>
              </a:path>
            </a:pathLst>
          </a:custGeom>
          <a:solidFill>
            <a:schemeClr val="bg2">
              <a:alpha val="70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R="0" lvl="0" indent="0" algn="ctr" defTabSz="45720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2" name="Figure">
            <a:extLst>
              <a:ext uri="{FF2B5EF4-FFF2-40B4-BE49-F238E27FC236}">
                <a16:creationId xmlns:a16="http://schemas.microsoft.com/office/drawing/2014/main" id="{7CFEC0CE-FB43-4333-9853-7B5924F208AC}"/>
              </a:ext>
            </a:extLst>
          </p:cNvPr>
          <p:cNvSpPr/>
          <p:nvPr userDrawn="1"/>
        </p:nvSpPr>
        <p:spPr>
          <a:xfrm>
            <a:off x="10139329" y="4982756"/>
            <a:ext cx="604493" cy="5757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202" h="18783" extrusionOk="0">
                <a:moveTo>
                  <a:pt x="402" y="2508"/>
                </a:moveTo>
                <a:cubicBezTo>
                  <a:pt x="-1232" y="5646"/>
                  <a:pt x="2321" y="15132"/>
                  <a:pt x="7365" y="17978"/>
                </a:cubicBezTo>
                <a:cubicBezTo>
                  <a:pt x="12410" y="20751"/>
                  <a:pt x="17100" y="15716"/>
                  <a:pt x="18734" y="12651"/>
                </a:cubicBezTo>
                <a:cubicBezTo>
                  <a:pt x="20368" y="9513"/>
                  <a:pt x="17597" y="4770"/>
                  <a:pt x="12481" y="1997"/>
                </a:cubicBezTo>
                <a:cubicBezTo>
                  <a:pt x="7436" y="-849"/>
                  <a:pt x="2036" y="-630"/>
                  <a:pt x="402" y="250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7B140BD1-698E-4732-9187-BE372F8EAB1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1385" y="0"/>
            <a:ext cx="5360617" cy="3642236"/>
          </a:xfrm>
          <a:custGeom>
            <a:avLst/>
            <a:gdLst>
              <a:gd name="connsiteX0" fmla="*/ 320472 w 5360617"/>
              <a:gd name="connsiteY0" fmla="*/ 0 h 3642236"/>
              <a:gd name="connsiteX1" fmla="*/ 5360617 w 5360617"/>
              <a:gd name="connsiteY1" fmla="*/ 0 h 3642236"/>
              <a:gd name="connsiteX2" fmla="*/ 5360617 w 5360617"/>
              <a:gd name="connsiteY2" fmla="*/ 3227025 h 3642236"/>
              <a:gd name="connsiteX3" fmla="*/ 5351732 w 5360617"/>
              <a:gd name="connsiteY3" fmla="*/ 3232995 h 3642236"/>
              <a:gd name="connsiteX4" fmla="*/ 4028504 w 5360617"/>
              <a:gd name="connsiteY4" fmla="*/ 3642236 h 3642236"/>
              <a:gd name="connsiteX5" fmla="*/ 0 w 5360617"/>
              <a:gd name="connsiteY5" fmla="*/ 624863 h 3642236"/>
              <a:gd name="connsiteX6" fmla="*/ 286013 w 5360617"/>
              <a:gd name="connsiteY6" fmla="*/ 23255 h 364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60617" h="3642236">
                <a:moveTo>
                  <a:pt x="320472" y="0"/>
                </a:moveTo>
                <a:lnTo>
                  <a:pt x="5360617" y="0"/>
                </a:lnTo>
                <a:lnTo>
                  <a:pt x="5360617" y="3227025"/>
                </a:lnTo>
                <a:lnTo>
                  <a:pt x="5351732" y="3232995"/>
                </a:lnTo>
                <a:cubicBezTo>
                  <a:pt x="4933670" y="3488463"/>
                  <a:pt x="4475851" y="3642236"/>
                  <a:pt x="4028504" y="3642236"/>
                </a:cubicBezTo>
                <a:cubicBezTo>
                  <a:pt x="2596996" y="3642236"/>
                  <a:pt x="0" y="2067594"/>
                  <a:pt x="0" y="624863"/>
                </a:cubicBezTo>
                <a:cubicBezTo>
                  <a:pt x="0" y="354352"/>
                  <a:pt x="105767" y="161846"/>
                  <a:pt x="286013" y="23255"/>
                </a:cubicBezTo>
                <a:close/>
              </a:path>
            </a:pathLst>
          </a:custGeom>
        </p:spPr>
        <p:txBody>
          <a:bodyPr wrap="square" tIns="109728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373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D54997-06A4-499B-8E6A-8EF1A89EB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4863"/>
            <a:ext cx="10515600" cy="11322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F3C88D-292F-4F8A-8FA3-E750F0E632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56792"/>
            <a:ext cx="10515600" cy="46201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8C7DAC-648B-41B2-BAA1-D87B884056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BCCA54F-4EBD-43C9-BA89-65D756EBCEED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073268-5839-4ECF-A52B-BE90FB6F58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Your Footer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5A0931-55D2-4DD7-B350-755D5AC96D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D325CB3F-26C9-44D7-A7CB-40F86C5CE4B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74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14" r:id="rId3"/>
    <p:sldLayoutId id="2147483927" r:id="rId4"/>
    <p:sldLayoutId id="2147483936" r:id="rId5"/>
    <p:sldLayoutId id="2147483915" r:id="rId6"/>
    <p:sldLayoutId id="2147483929" r:id="rId7"/>
    <p:sldLayoutId id="2147483945" r:id="rId8"/>
    <p:sldLayoutId id="2147483946" r:id="rId9"/>
    <p:sldLayoutId id="2147483937" r:id="rId10"/>
    <p:sldLayoutId id="2147483942" r:id="rId11"/>
    <p:sldLayoutId id="2147483943" r:id="rId12"/>
    <p:sldLayoutId id="2147483938" r:id="rId13"/>
    <p:sldLayoutId id="2147483939" r:id="rId14"/>
    <p:sldLayoutId id="2147483918" r:id="rId15"/>
    <p:sldLayoutId id="2147483944" r:id="rId16"/>
    <p:sldLayoutId id="2147483916" r:id="rId17"/>
    <p:sldLayoutId id="2147483917" r:id="rId18"/>
    <p:sldLayoutId id="2147483920" r:id="rId19"/>
    <p:sldLayoutId id="2147483921" r:id="rId20"/>
    <p:sldLayoutId id="2147483922" r:id="rId21"/>
    <p:sldLayoutId id="2147483923" r:id="rId22"/>
    <p:sldLayoutId id="2147483947" r:id="rId2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137160"/>
            <a:ext cx="10972800" cy="70788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/>
          <p:cNvSpPr/>
          <p:nvPr/>
        </p:nvSpPr>
        <p:spPr>
          <a:xfrm rot="5400000">
            <a:off x="11604686" y="5799924"/>
            <a:ext cx="1839158" cy="27699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:p14="http://schemas.microsoft.com/office/powerpoint/2010/main" val="3974763103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r" defTabSz="914354" rtl="0" eaLnBrk="1" latinLnBrk="0" hangingPunct="1">
        <a:spcBef>
          <a:spcPct val="0"/>
        </a:spcBef>
        <a:buNone/>
        <a:defRPr lang="en-US" sz="4000" b="1" kern="1200" cap="all" normalizeH="0" baseline="0" dirty="0">
          <a:solidFill>
            <a:srgbClr val="2F3A46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342882" indent="-342882" algn="l" defTabSz="91435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>
              <a:lumMod val="7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742913" indent="-285737" algn="l" defTabSz="914354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>
              <a:lumMod val="7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294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7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120" indent="-228589" algn="l" defTabSz="91435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>
              <a:lumMod val="7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298" indent="-228589" algn="l" defTabSz="914354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>
              <a:lumMod val="7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E26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38930" y="341031"/>
            <a:ext cx="2914141" cy="804743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2185947" y="2158991"/>
            <a:ext cx="7820106" cy="34163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914354"/>
            <a:r>
              <a:rPr lang="en-US" sz="5400" dirty="0">
                <a:solidFill>
                  <a:schemeClr val="bg1"/>
                </a:solidFill>
                <a:latin typeface="Calibri Light" panose="020F0302020204030204" pitchFamily="34" charset="0"/>
              </a:rPr>
              <a:t>Free </a:t>
            </a:r>
            <a:r>
              <a:rPr lang="en-US" sz="5400">
                <a:solidFill>
                  <a:schemeClr val="bg1"/>
                </a:solidFill>
                <a:latin typeface="Calibri Light" panose="020F0302020204030204" pitchFamily="34" charset="0"/>
              </a:rPr>
              <a:t>creative templates</a:t>
            </a:r>
            <a:r>
              <a:rPr lang="en-US" sz="5400" dirty="0">
                <a:solidFill>
                  <a:schemeClr val="bg1"/>
                </a:solidFill>
                <a:latin typeface="Calibri Light" panose="020F0302020204030204" pitchFamily="34" charset="0"/>
              </a:rPr>
              <a:t>, charts, diagrams and maps for your outstanding presentations</a:t>
            </a:r>
          </a:p>
        </p:txBody>
      </p:sp>
    </p:spTree>
    <p:extLst>
      <p:ext uri="{BB962C8B-B14F-4D97-AF65-F5344CB8AC3E}">
        <p14:creationId xmlns:p14="http://schemas.microsoft.com/office/powerpoint/2010/main" val="3800825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</p:sldLayoutIdLst>
  <p:hf hdr="0" ft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7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6.png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4271/2019-01-0479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7B6C81B6-18C4-488F-8D84-8A8CA8275B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3335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71D4489E-5052-4518-8FE7-4DD9869D16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0235" y="1508849"/>
            <a:ext cx="3181758" cy="692033"/>
          </a:xfrm>
          <a:prstGeom prst="rect">
            <a:avLst/>
          </a:prstGeom>
        </p:spPr>
      </p:pic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9DAD56B-669A-4CB6-9243-84E006C11F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0235" y="2598208"/>
            <a:ext cx="3181758" cy="890890"/>
          </a:xfrm>
          <a:prstGeom prst="rect">
            <a:avLst/>
          </a:prstGeom>
        </p:spPr>
      </p:pic>
      <p:sp>
        <p:nvSpPr>
          <p:cNvPr id="29" name="Freeform 7">
            <a:extLst>
              <a:ext uri="{FF2B5EF4-FFF2-40B4-BE49-F238E27FC236}">
                <a16:creationId xmlns:a16="http://schemas.microsoft.com/office/drawing/2014/main" id="{08C9D41E-9E70-4BC4-A534-063A5D36C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flipH="1">
            <a:off x="4952418" y="1118007"/>
            <a:ext cx="347200" cy="3692301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93742B2C-1B3C-4ABE-839F-79D7ED5A5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0119699" y="1654168"/>
            <a:ext cx="822493" cy="4232692"/>
          </a:xfrm>
          <a:custGeom>
            <a:avLst/>
            <a:gdLst>
              <a:gd name="T0" fmla="*/ 491 w 491"/>
              <a:gd name="T1" fmla="*/ 2247 h 2732"/>
              <a:gd name="T2" fmla="*/ 0 w 491"/>
              <a:gd name="T3" fmla="*/ 2732 h 2732"/>
              <a:gd name="T4" fmla="*/ 0 w 491"/>
              <a:gd name="T5" fmla="*/ 486 h 2732"/>
              <a:gd name="T6" fmla="*/ 491 w 491"/>
              <a:gd name="T7" fmla="*/ 0 h 2732"/>
              <a:gd name="T8" fmla="*/ 491 w 491"/>
              <a:gd name="T9" fmla="*/ 2247 h 27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1" h="2732">
                <a:moveTo>
                  <a:pt x="491" y="2247"/>
                </a:moveTo>
                <a:lnTo>
                  <a:pt x="0" y="2732"/>
                </a:lnTo>
                <a:lnTo>
                  <a:pt x="0" y="486"/>
                </a:lnTo>
                <a:lnTo>
                  <a:pt x="491" y="0"/>
                </a:lnTo>
                <a:lnTo>
                  <a:pt x="491" y="224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6">
            <a:extLst>
              <a:ext uri="{FF2B5EF4-FFF2-40B4-BE49-F238E27FC236}">
                <a16:creationId xmlns:a16="http://schemas.microsoft.com/office/drawing/2014/main" id="{145FB121-4F4E-44A0-A2BA-2D299A176B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0254437" y="1311136"/>
            <a:ext cx="687754" cy="3820236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7">
            <a:extLst>
              <a:ext uri="{FF2B5EF4-FFF2-40B4-BE49-F238E27FC236}">
                <a16:creationId xmlns:a16="http://schemas.microsoft.com/office/drawing/2014/main" id="{5717D022-8495-4C9E-9283-AF23C6EF15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0254437" y="1126737"/>
            <a:ext cx="347200" cy="3699705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8">
            <a:extLst>
              <a:ext uri="{FF2B5EF4-FFF2-40B4-BE49-F238E27FC236}">
                <a16:creationId xmlns:a16="http://schemas.microsoft.com/office/drawing/2014/main" id="{47ED1046-19D4-4248-85E5-F8B5952CF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954723" y="1118007"/>
            <a:ext cx="5646914" cy="3531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C58EDE2-9C12-4E95-AE15-1944DE2521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99618" y="1426970"/>
            <a:ext cx="5029912" cy="2887686"/>
          </a:xfrm>
        </p:spPr>
        <p:txBody>
          <a:bodyPr>
            <a:normAutofit/>
          </a:bodyPr>
          <a:lstStyle/>
          <a:p>
            <a:pPr algn="l"/>
            <a:r>
              <a:rPr lang="en-US" sz="4700" dirty="0">
                <a:solidFill>
                  <a:srgbClr val="FEFFFF"/>
                </a:solidFill>
              </a:rPr>
              <a:t>Security, Privacy and Ethical Issues in next-gen Automotiv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6DCAC89-5D68-4BB2-9B66-DFA32988EB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69699" y="4810308"/>
            <a:ext cx="4682179" cy="1076551"/>
          </a:xfrm>
        </p:spPr>
        <p:txBody>
          <a:bodyPr>
            <a:normAutofit/>
          </a:bodyPr>
          <a:lstStyle/>
          <a:p>
            <a:pPr algn="r"/>
            <a:r>
              <a:rPr lang="en-US" sz="2200" dirty="0"/>
              <a:t>Ashish Ashutosh</a:t>
            </a:r>
          </a:p>
          <a:p>
            <a:pPr algn="r"/>
            <a:r>
              <a:rPr lang="en-US" sz="2200" dirty="0"/>
              <a:t>FIT Europe 2022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39CA3B-6E19-4677-9901-4898478FE5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17536" y="6382512"/>
            <a:ext cx="2825496" cy="320040"/>
          </a:xfrm>
        </p:spPr>
        <p:txBody>
          <a:bodyPr>
            <a:normAutofit/>
          </a:bodyPr>
          <a:lstStyle/>
          <a:p>
            <a:pPr algn="r">
              <a:spcAft>
                <a:spcPts val="600"/>
              </a:spcAft>
            </a:pPr>
            <a:fld id="{D8FEAF51-BED2-4235-8142-9F67AFE1A4C7}" type="datetime1">
              <a:rPr lang="en-US" sz="1000"/>
              <a:pPr algn="r">
                <a:spcAft>
                  <a:spcPts val="600"/>
                </a:spcAft>
              </a:pPr>
              <a:t>3/22/2022</a:t>
            </a:fld>
            <a:endParaRPr lang="en-US" sz="100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F3B56BF5-D1CC-4535-BD72-00AB6556A7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40235" y="3798186"/>
            <a:ext cx="3181758" cy="94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7763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22F09-9206-4657-8207-CF25989FE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isks related to different sensors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C99F9F-B3B0-46C4-A0CC-5E89C9305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D4BC6-4D0D-4C38-8E61-3B7265C53276}" type="datetime1">
              <a:rPr lang="en-US" smtClean="0"/>
              <a:t>3/22/20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822DBB-7C97-48F0-8159-977EA847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10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1F71D3-238C-4BE1-832A-756EC0F89AC6}"/>
              </a:ext>
            </a:extLst>
          </p:cNvPr>
          <p:cNvSpPr txBox="1"/>
          <p:nvPr/>
        </p:nvSpPr>
        <p:spPr>
          <a:xfrm>
            <a:off x="838200" y="1530694"/>
            <a:ext cx="10154344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eriod"/>
            </a:pPr>
            <a:r>
              <a:rPr lang="de-DE" sz="2400" dirty="0">
                <a:solidFill>
                  <a:srgbClr val="004E57"/>
                </a:solidFill>
              </a:rPr>
              <a:t>Riskiest sensors </a:t>
            </a:r>
          </a:p>
          <a:p>
            <a:pPr marL="914378" lvl="1" indent="-457200">
              <a:buFont typeface="Wingdings" panose="05000000000000000000" pitchFamily="2" charset="2"/>
              <a:buChar char="§"/>
            </a:pPr>
            <a:r>
              <a:rPr lang="de-DE" sz="2400" dirty="0">
                <a:solidFill>
                  <a:srgbClr val="004E57"/>
                </a:solidFill>
              </a:rPr>
              <a:t>Location, current speed, steering wheel angle</a:t>
            </a:r>
          </a:p>
          <a:p>
            <a:pPr marL="457200" indent="-457200">
              <a:buAutoNum type="arabicPeriod"/>
            </a:pPr>
            <a:r>
              <a:rPr lang="de-DE" sz="2400" dirty="0">
                <a:solidFill>
                  <a:srgbClr val="004E57"/>
                </a:solidFill>
              </a:rPr>
              <a:t>Riskiest sensors in combination</a:t>
            </a:r>
          </a:p>
          <a:p>
            <a:pPr marL="800078" lvl="1" indent="-342900">
              <a:buFont typeface="Wingdings" panose="05000000000000000000" pitchFamily="2" charset="2"/>
              <a:buChar char="§"/>
            </a:pPr>
            <a:r>
              <a:rPr lang="de-DE" sz="2400" dirty="0">
                <a:solidFill>
                  <a:srgbClr val="004E57"/>
                </a:solidFill>
              </a:rPr>
              <a:t>Fuel consumption and hard breaking</a:t>
            </a:r>
          </a:p>
          <a:p>
            <a:pPr marL="457200" indent="-457200">
              <a:buAutoNum type="arabicPeriod"/>
            </a:pPr>
            <a:r>
              <a:rPr lang="de-DE" sz="2400" dirty="0">
                <a:solidFill>
                  <a:srgbClr val="004E57"/>
                </a:solidFill>
              </a:rPr>
              <a:t>Least privacy risks</a:t>
            </a:r>
          </a:p>
          <a:p>
            <a:pPr marL="914378" lvl="1" indent="-457200">
              <a:buFont typeface="Wingdings" panose="05000000000000000000" pitchFamily="2" charset="2"/>
              <a:buChar char="§"/>
            </a:pPr>
            <a:r>
              <a:rPr lang="de-DE" sz="2400" dirty="0">
                <a:solidFill>
                  <a:srgbClr val="004E57"/>
                </a:solidFill>
              </a:rPr>
              <a:t>Outside temperature, average speed, maximum speed, battery level, check engine light on, oil level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65809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0F516D-3F56-4C87-9DF3-EEF1F37B29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ossible solutions to protect sensor data?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413063-742C-4CB7-9E5E-8F61DB772A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E60D43-205C-49E2-BFE6-AFEE81AD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A5652-EC40-4471-9F09-BF266E7781BF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50623E-6754-4E2C-BC03-482D56752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26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22F09-9206-4657-8207-CF25989FE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846" y="374824"/>
            <a:ext cx="10515600" cy="1132235"/>
          </a:xfrm>
        </p:spPr>
        <p:txBody>
          <a:bodyPr/>
          <a:lstStyle/>
          <a:p>
            <a:r>
              <a:rPr lang="de-DE" dirty="0"/>
              <a:t>Some Challenges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C99F9F-B3B0-46C4-A0CC-5E89C9305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D4BC6-4D0D-4C38-8E61-3B7265C53276}" type="datetime1">
              <a:rPr lang="en-US" smtClean="0"/>
              <a:t>3/22/20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822DBB-7C97-48F0-8159-977EA847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12</a:t>
            </a:fld>
            <a:endParaRPr lang="en-US" dirty="0"/>
          </a:p>
        </p:txBody>
      </p:sp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B6026636-093D-48D6-B4D1-EB9A1DCB1B9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78000"/>
          </a:blip>
          <a:srcRect l="22316" t="31223" r="28000" b="17217"/>
          <a:stretch/>
        </p:blipFill>
        <p:spPr>
          <a:xfrm>
            <a:off x="1271464" y="3068961"/>
            <a:ext cx="9505056" cy="309634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CF83289E-A15D-4D91-9667-7EC28F725B0E}"/>
              </a:ext>
            </a:extLst>
          </p:cNvPr>
          <p:cNvGrpSpPr/>
          <p:nvPr/>
        </p:nvGrpSpPr>
        <p:grpSpPr>
          <a:xfrm>
            <a:off x="3670450" y="1300420"/>
            <a:ext cx="5354446" cy="4482072"/>
            <a:chOff x="3325717" y="379902"/>
            <a:chExt cx="3705523" cy="3293757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D2B2B78-5840-4748-945B-1911E6242A2E}"/>
                </a:ext>
              </a:extLst>
            </p:cNvPr>
            <p:cNvGrpSpPr/>
            <p:nvPr/>
          </p:nvGrpSpPr>
          <p:grpSpPr>
            <a:xfrm>
              <a:off x="3325717" y="1591512"/>
              <a:ext cx="3705523" cy="2082147"/>
              <a:chOff x="3499453" y="1655520"/>
              <a:chExt cx="3705523" cy="2082147"/>
            </a:xfrm>
          </p:grpSpPr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4048F56-305E-4BD9-9854-5B9450033B9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63906" y="3511640"/>
                <a:ext cx="3203238" cy="23985"/>
              </a:xfrm>
              <a:prstGeom prst="line">
                <a:avLst/>
              </a:prstGeom>
              <a:ln w="22225">
                <a:solidFill>
                  <a:srgbClr val="96B6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10A6DF0-7810-4065-A8DF-8F3B0197F32E}"/>
                  </a:ext>
                </a:extLst>
              </p:cNvPr>
              <p:cNvSpPr/>
              <p:nvPr/>
            </p:nvSpPr>
            <p:spPr>
              <a:xfrm>
                <a:off x="3499453" y="3120820"/>
                <a:ext cx="487565" cy="223796"/>
              </a:xfrm>
              <a:prstGeom prst="rect">
                <a:avLst/>
              </a:prstGeom>
              <a:solidFill>
                <a:srgbClr val="96B6BA"/>
              </a:solidFill>
              <a:ln>
                <a:solidFill>
                  <a:srgbClr val="004E57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 dirty="0">
                    <a:solidFill>
                      <a:srgbClr val="004E57"/>
                    </a:solidFill>
                  </a:rPr>
                  <a:t>ECU </a:t>
                </a:r>
              </a:p>
            </p:txBody>
          </p: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7ED1EA05-A42F-46D6-9BB7-DE3AC9864E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63906" y="3344616"/>
                <a:ext cx="0" cy="191009"/>
              </a:xfrm>
              <a:prstGeom prst="line">
                <a:avLst/>
              </a:prstGeom>
              <a:ln>
                <a:solidFill>
                  <a:srgbClr val="96B6BA"/>
                </a:solidFill>
                <a:head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B1593B17-507A-4DDE-AADB-2708798923A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867143" y="3344616"/>
                <a:ext cx="1" cy="160117"/>
              </a:xfrm>
              <a:prstGeom prst="line">
                <a:avLst/>
              </a:prstGeom>
              <a:ln>
                <a:solidFill>
                  <a:srgbClr val="96B6BA"/>
                </a:solidFill>
                <a:head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id="{311CCA24-D4F9-489E-B7B1-91280B47325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153792" y="2876934"/>
                <a:ext cx="13551" cy="645494"/>
              </a:xfrm>
              <a:prstGeom prst="straightConnector1">
                <a:avLst/>
              </a:prstGeom>
              <a:ln w="19050">
                <a:solidFill>
                  <a:srgbClr val="96B6BA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Arrow Connector 32">
                <a:extLst>
                  <a:ext uri="{FF2B5EF4-FFF2-40B4-BE49-F238E27FC236}">
                    <a16:creationId xmlns:a16="http://schemas.microsoft.com/office/drawing/2014/main" id="{A90072DF-B621-4FCB-A39F-8D6FBB6721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36236" y="1713637"/>
                <a:ext cx="0" cy="563713"/>
              </a:xfrm>
              <a:prstGeom prst="straightConnector1">
                <a:avLst/>
              </a:prstGeom>
              <a:ln>
                <a:solidFill>
                  <a:srgbClr val="96B6BA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9262F4FD-60D2-4DEA-91BB-0C666CD0D500}"/>
                  </a:ext>
                </a:extLst>
              </p:cNvPr>
              <p:cNvCxnSpPr/>
              <p:nvPr/>
            </p:nvCxnSpPr>
            <p:spPr>
              <a:xfrm flipV="1">
                <a:off x="4835173" y="2876934"/>
                <a:ext cx="0" cy="638115"/>
              </a:xfrm>
              <a:prstGeom prst="straightConnector1">
                <a:avLst/>
              </a:prstGeom>
              <a:ln w="15875">
                <a:solidFill>
                  <a:srgbClr val="96B6BA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38C3B8E-1CD3-47D7-A876-D742ADFF44B4}"/>
                  </a:ext>
                </a:extLst>
              </p:cNvPr>
              <p:cNvSpPr/>
              <p:nvPr/>
            </p:nvSpPr>
            <p:spPr>
              <a:xfrm>
                <a:off x="6591844" y="3084092"/>
                <a:ext cx="613132" cy="238894"/>
              </a:xfrm>
              <a:prstGeom prst="rect">
                <a:avLst/>
              </a:prstGeom>
              <a:solidFill>
                <a:srgbClr val="96B6BA"/>
              </a:solidFill>
              <a:ln>
                <a:solidFill>
                  <a:srgbClr val="004E57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solidFill>
                      <a:srgbClr val="004E57"/>
                    </a:solidFill>
                  </a:rPr>
                  <a:t>ECU </a:t>
                </a:r>
              </a:p>
            </p:txBody>
          </p:sp>
          <p:sp>
            <p:nvSpPr>
              <p:cNvPr id="36" name="Flowchart: Connector 35">
                <a:extLst>
                  <a:ext uri="{FF2B5EF4-FFF2-40B4-BE49-F238E27FC236}">
                    <a16:creationId xmlns:a16="http://schemas.microsoft.com/office/drawing/2014/main" id="{457BA4C7-B33F-4A42-A1F5-678E7FA5C81C}"/>
                  </a:ext>
                </a:extLst>
              </p:cNvPr>
              <p:cNvSpPr/>
              <p:nvPr/>
            </p:nvSpPr>
            <p:spPr>
              <a:xfrm>
                <a:off x="4453477" y="2262535"/>
                <a:ext cx="873265" cy="607015"/>
              </a:xfrm>
              <a:prstGeom prst="flowChartConnector">
                <a:avLst/>
              </a:prstGeom>
              <a:solidFill>
                <a:srgbClr val="96B6BA"/>
              </a:solidFill>
              <a:ln>
                <a:solidFill>
                  <a:srgbClr val="004E57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b="1" dirty="0">
                    <a:solidFill>
                      <a:srgbClr val="004E57"/>
                    </a:solidFill>
                  </a:rPr>
                  <a:t>OEM Services</a:t>
                </a:r>
                <a:endParaRPr lang="en-GB" sz="1000" b="1" dirty="0">
                  <a:solidFill>
                    <a:srgbClr val="004E57"/>
                  </a:solidFill>
                </a:endParaRPr>
              </a:p>
            </p:txBody>
          </p:sp>
          <p:sp>
            <p:nvSpPr>
              <p:cNvPr id="37" name="Flowchart: Connector 36">
                <a:extLst>
                  <a:ext uri="{FF2B5EF4-FFF2-40B4-BE49-F238E27FC236}">
                    <a16:creationId xmlns:a16="http://schemas.microsoft.com/office/drawing/2014/main" id="{E7B6E8C0-4621-48E4-84C2-C217D5E5FEDD}"/>
                  </a:ext>
                </a:extLst>
              </p:cNvPr>
              <p:cNvSpPr/>
              <p:nvPr/>
            </p:nvSpPr>
            <p:spPr>
              <a:xfrm>
                <a:off x="5718579" y="2255899"/>
                <a:ext cx="873265" cy="607015"/>
              </a:xfrm>
              <a:prstGeom prst="flowChartConnector">
                <a:avLst/>
              </a:prstGeom>
              <a:solidFill>
                <a:srgbClr val="96B6BA"/>
              </a:solidFill>
              <a:ln>
                <a:solidFill>
                  <a:srgbClr val="004E57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b="1" dirty="0">
                    <a:solidFill>
                      <a:srgbClr val="004E57"/>
                    </a:solidFill>
                  </a:rPr>
                  <a:t>3rd Party Services</a:t>
                </a:r>
                <a:endParaRPr lang="en-GB" sz="1000" b="1" dirty="0">
                  <a:solidFill>
                    <a:srgbClr val="004E57"/>
                  </a:solidFill>
                </a:endParaRPr>
              </a:p>
            </p:txBody>
          </p: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85E0D5CF-08AF-4986-BE60-B7EE527545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67342" y="1655520"/>
                <a:ext cx="1" cy="607015"/>
              </a:xfrm>
              <a:prstGeom prst="straightConnector1">
                <a:avLst/>
              </a:prstGeom>
              <a:ln>
                <a:solidFill>
                  <a:srgbClr val="96B6BA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0D68C6E3-B682-47BF-BA2B-773E58A587E1}"/>
                  </a:ext>
                </a:extLst>
              </p:cNvPr>
              <p:cNvSpPr txBox="1"/>
              <p:nvPr/>
            </p:nvSpPr>
            <p:spPr>
              <a:xfrm>
                <a:off x="4809755" y="1831354"/>
                <a:ext cx="1483867" cy="5232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000" b="1" dirty="0">
                    <a:solidFill>
                      <a:srgbClr val="004E57"/>
                    </a:solidFill>
                  </a:rPr>
                  <a:t>Externally Shared Data</a:t>
                </a:r>
              </a:p>
              <a:p>
                <a:endParaRPr lang="en-GB" b="1" dirty="0">
                  <a:solidFill>
                    <a:srgbClr val="004E57"/>
                  </a:solidFill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7BC6470-647E-49CB-8D00-5CA7756EB508}"/>
                  </a:ext>
                </a:extLst>
              </p:cNvPr>
              <p:cNvSpPr txBox="1"/>
              <p:nvPr/>
            </p:nvSpPr>
            <p:spPr>
              <a:xfrm>
                <a:off x="4890109" y="3060559"/>
                <a:ext cx="1257046" cy="6771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>
                    <a:solidFill>
                      <a:srgbClr val="004E57"/>
                    </a:solidFill>
                  </a:rPr>
                  <a:t>In-vehicle Generated Data</a:t>
                </a:r>
              </a:p>
              <a:p>
                <a:endParaRPr lang="en-GB" b="1" dirty="0">
                  <a:solidFill>
                    <a:srgbClr val="004E57"/>
                  </a:solidFill>
                </a:endParaRPr>
              </a:p>
            </p:txBody>
          </p:sp>
        </p:grpSp>
        <p:pic>
          <p:nvPicPr>
            <p:cNvPr id="17" name="Picture 16" descr="Icon&#10;&#10;Description automatically generated">
              <a:extLst>
                <a:ext uri="{FF2B5EF4-FFF2-40B4-BE49-F238E27FC236}">
                  <a16:creationId xmlns:a16="http://schemas.microsoft.com/office/drawing/2014/main" id="{17FEC62C-C58C-45D4-A4CF-C6D1C38733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alphaModFix amt="41000"/>
            </a:blip>
            <a:srcRect l="28990" t="35762" r="28157" b="33894"/>
            <a:stretch/>
          </p:blipFill>
          <p:spPr>
            <a:xfrm>
              <a:off x="4331710" y="379902"/>
              <a:ext cx="2040608" cy="1444970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0C51919-FCB1-4773-94EC-E93467F3D726}"/>
                </a:ext>
              </a:extLst>
            </p:cNvPr>
            <p:cNvSpPr txBox="1"/>
            <p:nvPr/>
          </p:nvSpPr>
          <p:spPr>
            <a:xfrm>
              <a:off x="4812158" y="904575"/>
              <a:ext cx="10654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4E5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ehicle  Data Platform and Cloud Services</a:t>
              </a:r>
            </a:p>
            <a:p>
              <a:endParaRPr lang="en-US" dirty="0"/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60EBACD7-1C69-4215-9F65-D3A6D58C3235}"/>
              </a:ext>
            </a:extLst>
          </p:cNvPr>
          <p:cNvSpPr txBox="1"/>
          <p:nvPr/>
        </p:nvSpPr>
        <p:spPr>
          <a:xfrm>
            <a:off x="8581911" y="255003"/>
            <a:ext cx="31394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rgbClr val="004E57"/>
                </a:solidFill>
              </a:rPr>
              <a:t>OEM: Original Equipment Manufacturers</a:t>
            </a:r>
          </a:p>
          <a:p>
            <a:r>
              <a:rPr lang="de-DE" sz="1400" dirty="0">
                <a:solidFill>
                  <a:srgbClr val="004E57"/>
                </a:solidFill>
              </a:rPr>
              <a:t>ECU: Electronic Control Units</a:t>
            </a:r>
          </a:p>
          <a:p>
            <a:r>
              <a:rPr lang="de-DE" sz="1400" dirty="0">
                <a:solidFill>
                  <a:srgbClr val="004E57"/>
                </a:solidFill>
              </a:rPr>
              <a:t>CAN: Controller Area Network</a:t>
            </a:r>
            <a:endParaRPr lang="en-GB" sz="1400" dirty="0">
              <a:solidFill>
                <a:srgbClr val="004E57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CD741C-68FD-4A81-9E2C-D31BFD9F6DC3}"/>
              </a:ext>
            </a:extLst>
          </p:cNvPr>
          <p:cNvSpPr txBox="1"/>
          <p:nvPr/>
        </p:nvSpPr>
        <p:spPr>
          <a:xfrm>
            <a:off x="695400" y="1723814"/>
            <a:ext cx="401394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de-DE" sz="2400" dirty="0">
                <a:solidFill>
                  <a:srgbClr val="004E57"/>
                </a:solidFill>
              </a:rPr>
              <a:t>Interoperability</a:t>
            </a:r>
          </a:p>
          <a:p>
            <a:pPr marL="342900" indent="-342900">
              <a:buAutoNum type="arabicPeriod"/>
            </a:pPr>
            <a:r>
              <a:rPr lang="de-DE" sz="2400" dirty="0">
                <a:solidFill>
                  <a:srgbClr val="004E57"/>
                </a:solidFill>
              </a:rPr>
              <a:t>Polling frequency</a:t>
            </a:r>
          </a:p>
          <a:p>
            <a:pPr marL="342900" indent="-342900">
              <a:buAutoNum type="arabicPeriod"/>
            </a:pPr>
            <a:r>
              <a:rPr lang="de-DE" sz="2400" dirty="0">
                <a:solidFill>
                  <a:srgbClr val="004E57"/>
                </a:solidFill>
              </a:rPr>
              <a:t>Dissemination of vehicle data</a:t>
            </a:r>
          </a:p>
          <a:p>
            <a:pPr marL="342900" indent="-342900">
              <a:buAutoNum type="arabicPeriod"/>
            </a:pPr>
            <a:endParaRPr lang="en-GB" sz="2400" dirty="0">
              <a:solidFill>
                <a:srgbClr val="004E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2002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Freeform: Shape 18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622F09-9206-4657-8207-CF25989FE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5" y="2767106"/>
            <a:ext cx="3186764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issemination of vehicle </a:t>
            </a:r>
            <a:r>
              <a:rPr lang="en-US" sz="4000" dirty="0">
                <a:solidFill>
                  <a:srgbClr val="FFFFFF"/>
                </a:solidFill>
                <a:latin typeface="+mj-lt"/>
              </a:rPr>
              <a:t>d</a:t>
            </a: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t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C99F9F-B3B0-46C4-A0CC-5E89C9305A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70264" y="6455664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914400">
              <a:spcAft>
                <a:spcPts val="600"/>
              </a:spcAft>
            </a:pPr>
            <a:fld id="{D4ED4BC6-4D0D-4C38-8E61-3B7265C53276}" type="datetime1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 defTabSz="914400">
                <a:spcAft>
                  <a:spcPts val="600"/>
                </a:spcAft>
              </a:pPr>
              <a:t>3/22/2022</a:t>
            </a:fld>
            <a:endParaRPr lang="en-US" sz="11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822DBB-7C97-48F0-8159-977EA847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19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D325CB3F-26C9-44D7-A7CB-40F86C5CE4B1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defTabSz="914400">
                <a:spcAft>
                  <a:spcPts val="600"/>
                </a:spcAft>
              </a:pPr>
              <a:t>13</a:t>
            </a:fld>
            <a:endParaRPr lang="en-US" sz="11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2" name="Picture 11" descr="Diagram, timeline&#10;&#10;Description automatically generated">
            <a:extLst>
              <a:ext uri="{FF2B5EF4-FFF2-40B4-BE49-F238E27FC236}">
                <a16:creationId xmlns:a16="http://schemas.microsoft.com/office/drawing/2014/main" id="{5AB103FE-0630-4027-B8AC-E24E7DAB41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678" y="272426"/>
            <a:ext cx="6463883" cy="631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6619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22F09-9206-4657-8207-CF25989FE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sion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C99F9F-B3B0-46C4-A0CC-5E89C9305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D4BC6-4D0D-4C38-8E61-3B7265C53276}" type="datetime1">
              <a:rPr lang="en-US" smtClean="0"/>
              <a:t>3/22/20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822DBB-7C97-48F0-8159-977EA847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14</a:t>
            </a:fld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A3525E9-E663-444B-9093-F8BA41A74DC0}"/>
              </a:ext>
            </a:extLst>
          </p:cNvPr>
          <p:cNvGrpSpPr/>
          <p:nvPr/>
        </p:nvGrpSpPr>
        <p:grpSpPr>
          <a:xfrm>
            <a:off x="1211747" y="1772816"/>
            <a:ext cx="9597469" cy="4176464"/>
            <a:chOff x="-2068" y="1041166"/>
            <a:chExt cx="8887860" cy="3668508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6EA9128-3C62-4C9E-8F1C-F4C30137D1AC}"/>
                </a:ext>
              </a:extLst>
            </p:cNvPr>
            <p:cNvGrpSpPr/>
            <p:nvPr/>
          </p:nvGrpSpPr>
          <p:grpSpPr>
            <a:xfrm>
              <a:off x="-2068" y="1041166"/>
              <a:ext cx="8887860" cy="3530008"/>
              <a:chOff x="-2068" y="1041166"/>
              <a:chExt cx="8887860" cy="3530008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41E358E1-3383-4E1E-ABC7-B255C5705BC8}"/>
                  </a:ext>
                </a:extLst>
              </p:cNvPr>
              <p:cNvSpPr/>
              <p:nvPr/>
            </p:nvSpPr>
            <p:spPr>
              <a:xfrm>
                <a:off x="5930954" y="2067280"/>
                <a:ext cx="243424" cy="29455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806E60B9-8C1C-4FFF-A1BD-D724583CB1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986377" y="1946299"/>
                <a:ext cx="0" cy="1033532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arrow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E5326E17-031F-4CAD-8E32-763BC8A26BAF}"/>
                  </a:ext>
                </a:extLst>
              </p:cNvPr>
              <p:cNvGrpSpPr/>
              <p:nvPr/>
            </p:nvGrpSpPr>
            <p:grpSpPr>
              <a:xfrm>
                <a:off x="5061074" y="1360747"/>
                <a:ext cx="1682988" cy="589031"/>
                <a:chOff x="2335470" y="4281716"/>
                <a:chExt cx="2181818" cy="818513"/>
              </a:xfrm>
            </p:grpSpPr>
            <p:sp>
              <p:nvSpPr>
                <p:cNvPr id="178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FB106ABC-DCA6-4A0A-8310-0CE712804845}"/>
                    </a:ext>
                  </a:extLst>
                </p:cNvPr>
                <p:cNvSpPr/>
                <p:nvPr/>
              </p:nvSpPr>
              <p:spPr>
                <a:xfrm>
                  <a:off x="2335470" y="4853931"/>
                  <a:ext cx="2181818" cy="241463"/>
                </a:xfrm>
                <a:custGeom>
                  <a:avLst/>
                  <a:gdLst>
                    <a:gd name="connsiteX0" fmla="*/ 1735004 w 2181818"/>
                    <a:gd name="connsiteY0" fmla="*/ 175819 h 241463"/>
                    <a:gd name="connsiteX1" fmla="*/ 2181577 w 2181818"/>
                    <a:gd name="connsiteY1" fmla="*/ 150866 h 241463"/>
                    <a:gd name="connsiteX2" fmla="*/ 2121858 w 2181818"/>
                    <a:gd name="connsiteY2" fmla="*/ 47970 h 241463"/>
                    <a:gd name="connsiteX3" fmla="*/ 2002869 w 2181818"/>
                    <a:gd name="connsiteY3" fmla="*/ 12756 h 241463"/>
                    <a:gd name="connsiteX4" fmla="*/ 1606987 w 2181818"/>
                    <a:gd name="connsiteY4" fmla="*/ 2943 h 241463"/>
                    <a:gd name="connsiteX5" fmla="*/ 690233 w 2181818"/>
                    <a:gd name="connsiteY5" fmla="*/ 30980 h 241463"/>
                    <a:gd name="connsiteX6" fmla="*/ 231885 w 2181818"/>
                    <a:gd name="connsiteY6" fmla="*/ 46961 h 241463"/>
                    <a:gd name="connsiteX7" fmla="*/ 18803 w 2181818"/>
                    <a:gd name="connsiteY7" fmla="*/ 115315 h 241463"/>
                    <a:gd name="connsiteX8" fmla="*/ 7750 w 2181818"/>
                    <a:gd name="connsiteY8" fmla="*/ 176013 h 241463"/>
                    <a:gd name="connsiteX9" fmla="*/ 32486 w 2181818"/>
                    <a:gd name="connsiteY9" fmla="*/ 193370 h 241463"/>
                    <a:gd name="connsiteX10" fmla="*/ 834344 w 2181818"/>
                    <a:gd name="connsiteY10" fmla="*/ 228865 h 241463"/>
                    <a:gd name="connsiteX11" fmla="*/ 1735004 w 2181818"/>
                    <a:gd name="connsiteY11" fmla="*/ 175819 h 241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181818" h="241463">
                      <a:moveTo>
                        <a:pt x="1735004" y="175819"/>
                      </a:moveTo>
                      <a:cubicBezTo>
                        <a:pt x="1884385" y="174642"/>
                        <a:pt x="2035392" y="181426"/>
                        <a:pt x="2181577" y="150866"/>
                      </a:cubicBezTo>
                      <a:cubicBezTo>
                        <a:pt x="2184661" y="109259"/>
                        <a:pt x="2157241" y="70007"/>
                        <a:pt x="2121858" y="47970"/>
                      </a:cubicBezTo>
                      <a:cubicBezTo>
                        <a:pt x="2086476" y="25933"/>
                        <a:pt x="2044196" y="18083"/>
                        <a:pt x="2002869" y="12756"/>
                      </a:cubicBezTo>
                      <a:cubicBezTo>
                        <a:pt x="1871825" y="-4066"/>
                        <a:pt x="1739322" y="-758"/>
                        <a:pt x="1606987" y="2943"/>
                      </a:cubicBezTo>
                      <a:cubicBezTo>
                        <a:pt x="1301384" y="11391"/>
                        <a:pt x="995799" y="20737"/>
                        <a:pt x="690233" y="30980"/>
                      </a:cubicBezTo>
                      <a:cubicBezTo>
                        <a:pt x="537450" y="36064"/>
                        <a:pt x="384668" y="41391"/>
                        <a:pt x="231885" y="46961"/>
                      </a:cubicBezTo>
                      <a:cubicBezTo>
                        <a:pt x="136559" y="50382"/>
                        <a:pt x="80877" y="71409"/>
                        <a:pt x="18803" y="115315"/>
                      </a:cubicBezTo>
                      <a:cubicBezTo>
                        <a:pt x="-1010" y="129024"/>
                        <a:pt x="-5959" y="156199"/>
                        <a:pt x="7750" y="176013"/>
                      </a:cubicBezTo>
                      <a:cubicBezTo>
                        <a:pt x="13664" y="184561"/>
                        <a:pt x="22436" y="190716"/>
                        <a:pt x="32486" y="193370"/>
                      </a:cubicBezTo>
                      <a:cubicBezTo>
                        <a:pt x="285940" y="259537"/>
                        <a:pt x="580721" y="242379"/>
                        <a:pt x="834344" y="228865"/>
                      </a:cubicBezTo>
                      <a:cubicBezTo>
                        <a:pt x="1134564" y="212996"/>
                        <a:pt x="1433943" y="178118"/>
                        <a:pt x="1735004" y="175819"/>
                      </a:cubicBezTo>
                      <a:close/>
                    </a:path>
                  </a:pathLst>
                </a:custGeom>
                <a:solidFill>
                  <a:srgbClr val="010101">
                    <a:alpha val="27000"/>
                  </a:srgbClr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9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E1A751B3-59AE-4EB3-9100-48F617CA20F8}"/>
                    </a:ext>
                  </a:extLst>
                </p:cNvPr>
                <p:cNvSpPr/>
                <p:nvPr/>
              </p:nvSpPr>
              <p:spPr>
                <a:xfrm>
                  <a:off x="2356081" y="4807468"/>
                  <a:ext cx="428956" cy="206453"/>
                </a:xfrm>
                <a:custGeom>
                  <a:avLst/>
                  <a:gdLst>
                    <a:gd name="connsiteX0" fmla="*/ 428953 w 428956"/>
                    <a:gd name="connsiteY0" fmla="*/ 204114 h 206453"/>
                    <a:gd name="connsiteX1" fmla="*/ 418523 w 428956"/>
                    <a:gd name="connsiteY1" fmla="*/ 204787 h 206453"/>
                    <a:gd name="connsiteX2" fmla="*/ 42434 w 428956"/>
                    <a:gd name="connsiteY2" fmla="*/ 159647 h 206453"/>
                    <a:gd name="connsiteX3" fmla="*/ 3183 w 428956"/>
                    <a:gd name="connsiteY3" fmla="*/ -51 h 206453"/>
                    <a:gd name="connsiteX4" fmla="*/ 42434 w 428956"/>
                    <a:gd name="connsiteY4" fmla="*/ 73798 h 206453"/>
                    <a:gd name="connsiteX5" fmla="*/ 418523 w 428956"/>
                    <a:gd name="connsiteY5" fmla="*/ 118938 h 206453"/>
                    <a:gd name="connsiteX6" fmla="*/ 419364 w 428956"/>
                    <a:gd name="connsiteY6" fmla="*/ 118938 h 206453"/>
                    <a:gd name="connsiteX7" fmla="*/ 418523 w 428956"/>
                    <a:gd name="connsiteY7" fmla="*/ 138115 h 206453"/>
                    <a:gd name="connsiteX8" fmla="*/ 428952 w 428956"/>
                    <a:gd name="connsiteY8" fmla="*/ 204114 h 206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28956" h="206453">
                      <a:moveTo>
                        <a:pt x="428953" y="204114"/>
                      </a:moveTo>
                      <a:lnTo>
                        <a:pt x="418523" y="204787"/>
                      </a:lnTo>
                      <a:cubicBezTo>
                        <a:pt x="277553" y="214993"/>
                        <a:pt x="70864" y="174058"/>
                        <a:pt x="42434" y="159647"/>
                      </a:cubicBezTo>
                      <a:cubicBezTo>
                        <a:pt x="14005" y="145236"/>
                        <a:pt x="-8593" y="82938"/>
                        <a:pt x="3183" y="-51"/>
                      </a:cubicBezTo>
                      <a:cubicBezTo>
                        <a:pt x="9743" y="38528"/>
                        <a:pt x="24995" y="65107"/>
                        <a:pt x="42434" y="73798"/>
                      </a:cubicBezTo>
                      <a:cubicBezTo>
                        <a:pt x="70976" y="88209"/>
                        <a:pt x="277553" y="129143"/>
                        <a:pt x="418523" y="118938"/>
                      </a:cubicBezTo>
                      <a:lnTo>
                        <a:pt x="419364" y="118938"/>
                      </a:lnTo>
                      <a:cubicBezTo>
                        <a:pt x="418747" y="125218"/>
                        <a:pt x="418523" y="131554"/>
                        <a:pt x="418523" y="138115"/>
                      </a:cubicBezTo>
                      <a:cubicBezTo>
                        <a:pt x="418513" y="160526"/>
                        <a:pt x="422033" y="182798"/>
                        <a:pt x="428952" y="204114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0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4BC19CFC-FFC6-4C33-A027-F24364F346E9}"/>
                    </a:ext>
                  </a:extLst>
                </p:cNvPr>
                <p:cNvSpPr/>
                <p:nvPr/>
              </p:nvSpPr>
              <p:spPr>
                <a:xfrm>
                  <a:off x="2356081" y="4807468"/>
                  <a:ext cx="428956" cy="206453"/>
                </a:xfrm>
                <a:custGeom>
                  <a:avLst/>
                  <a:gdLst>
                    <a:gd name="connsiteX0" fmla="*/ 428953 w 428956"/>
                    <a:gd name="connsiteY0" fmla="*/ 204114 h 206453"/>
                    <a:gd name="connsiteX1" fmla="*/ 418523 w 428956"/>
                    <a:gd name="connsiteY1" fmla="*/ 204787 h 206453"/>
                    <a:gd name="connsiteX2" fmla="*/ 42434 w 428956"/>
                    <a:gd name="connsiteY2" fmla="*/ 159647 h 206453"/>
                    <a:gd name="connsiteX3" fmla="*/ 3183 w 428956"/>
                    <a:gd name="connsiteY3" fmla="*/ -51 h 206453"/>
                    <a:gd name="connsiteX4" fmla="*/ 42434 w 428956"/>
                    <a:gd name="connsiteY4" fmla="*/ 73798 h 206453"/>
                    <a:gd name="connsiteX5" fmla="*/ 418523 w 428956"/>
                    <a:gd name="connsiteY5" fmla="*/ 118938 h 206453"/>
                    <a:gd name="connsiteX6" fmla="*/ 419364 w 428956"/>
                    <a:gd name="connsiteY6" fmla="*/ 118938 h 206453"/>
                    <a:gd name="connsiteX7" fmla="*/ 418523 w 428956"/>
                    <a:gd name="connsiteY7" fmla="*/ 138115 h 206453"/>
                    <a:gd name="connsiteX8" fmla="*/ 428952 w 428956"/>
                    <a:gd name="connsiteY8" fmla="*/ 204114 h 206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28956" h="206453">
                      <a:moveTo>
                        <a:pt x="428953" y="204114"/>
                      </a:moveTo>
                      <a:lnTo>
                        <a:pt x="418523" y="204787"/>
                      </a:lnTo>
                      <a:cubicBezTo>
                        <a:pt x="277553" y="214993"/>
                        <a:pt x="70864" y="174058"/>
                        <a:pt x="42434" y="159647"/>
                      </a:cubicBezTo>
                      <a:cubicBezTo>
                        <a:pt x="14005" y="145236"/>
                        <a:pt x="-8593" y="82938"/>
                        <a:pt x="3183" y="-51"/>
                      </a:cubicBezTo>
                      <a:cubicBezTo>
                        <a:pt x="9743" y="38528"/>
                        <a:pt x="24995" y="65107"/>
                        <a:pt x="42434" y="73798"/>
                      </a:cubicBezTo>
                      <a:cubicBezTo>
                        <a:pt x="70976" y="88209"/>
                        <a:pt x="277553" y="129143"/>
                        <a:pt x="418523" y="118938"/>
                      </a:cubicBezTo>
                      <a:lnTo>
                        <a:pt x="419364" y="118938"/>
                      </a:lnTo>
                      <a:cubicBezTo>
                        <a:pt x="418747" y="125218"/>
                        <a:pt x="418523" y="131554"/>
                        <a:pt x="418523" y="138115"/>
                      </a:cubicBezTo>
                      <a:cubicBezTo>
                        <a:pt x="418513" y="160526"/>
                        <a:pt x="422033" y="182798"/>
                        <a:pt x="428952" y="204114"/>
                      </a:cubicBezTo>
                      <a:close/>
                    </a:path>
                  </a:pathLst>
                </a:custGeom>
                <a:solidFill>
                  <a:srgbClr val="010101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1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60744085-E34B-4FA0-A8D5-7000EB5BD40C}"/>
                    </a:ext>
                  </a:extLst>
                </p:cNvPr>
                <p:cNvSpPr/>
                <p:nvPr/>
              </p:nvSpPr>
              <p:spPr>
                <a:xfrm>
                  <a:off x="2359156" y="4281716"/>
                  <a:ext cx="2122542" cy="646355"/>
                </a:xfrm>
                <a:custGeom>
                  <a:avLst/>
                  <a:gdLst>
                    <a:gd name="connsiteX0" fmla="*/ 2080117 w 2122542"/>
                    <a:gd name="connsiteY0" fmla="*/ 607176 h 646355"/>
                    <a:gd name="connsiteX1" fmla="*/ 2080117 w 2122542"/>
                    <a:gd name="connsiteY1" fmla="*/ 603923 h 646355"/>
                    <a:gd name="connsiteX2" fmla="*/ 1896250 w 2122542"/>
                    <a:gd name="connsiteY2" fmla="*/ 414113 h 646355"/>
                    <a:gd name="connsiteX3" fmla="*/ 1716813 w 2122542"/>
                    <a:gd name="connsiteY3" fmla="*/ 561195 h 646355"/>
                    <a:gd name="connsiteX4" fmla="*/ 1713729 w 2122542"/>
                    <a:gd name="connsiteY4" fmla="*/ 578017 h 646355"/>
                    <a:gd name="connsiteX5" fmla="*/ 1478835 w 2122542"/>
                    <a:gd name="connsiteY5" fmla="*/ 601961 h 646355"/>
                    <a:gd name="connsiteX6" fmla="*/ 836956 w 2122542"/>
                    <a:gd name="connsiteY6" fmla="*/ 625960 h 646355"/>
                    <a:gd name="connsiteX7" fmla="*/ 836059 w 2122542"/>
                    <a:gd name="connsiteY7" fmla="*/ 621138 h 646355"/>
                    <a:gd name="connsiteX8" fmla="*/ 584680 w 2122542"/>
                    <a:gd name="connsiteY8" fmla="*/ 456112 h 646355"/>
                    <a:gd name="connsiteX9" fmla="*/ 419654 w 2122542"/>
                    <a:gd name="connsiteY9" fmla="*/ 621138 h 646355"/>
                    <a:gd name="connsiteX10" fmla="*/ 419654 w 2122542"/>
                    <a:gd name="connsiteY10" fmla="*/ 621138 h 646355"/>
                    <a:gd name="connsiteX11" fmla="*/ 416177 w 2122542"/>
                    <a:gd name="connsiteY11" fmla="*/ 644689 h 646355"/>
                    <a:gd name="connsiteX12" fmla="*/ 415336 w 2122542"/>
                    <a:gd name="connsiteY12" fmla="*/ 644689 h 646355"/>
                    <a:gd name="connsiteX13" fmla="*/ 39248 w 2122542"/>
                    <a:gd name="connsiteY13" fmla="*/ 599550 h 646355"/>
                    <a:gd name="connsiteX14" fmla="*/ -4 w 2122542"/>
                    <a:gd name="connsiteY14" fmla="*/ 525700 h 646355"/>
                    <a:gd name="connsiteX15" fmla="*/ -4 w 2122542"/>
                    <a:gd name="connsiteY15" fmla="*/ 523962 h 646355"/>
                    <a:gd name="connsiteX16" fmla="*/ 124873 w 2122542"/>
                    <a:gd name="connsiteY16" fmla="*/ 350133 h 646355"/>
                    <a:gd name="connsiteX17" fmla="*/ 451503 w 2122542"/>
                    <a:gd name="connsiteY17" fmla="*/ 230919 h 646355"/>
                    <a:gd name="connsiteX18" fmla="*/ 472419 w 2122542"/>
                    <a:gd name="connsiteY18" fmla="*/ 225312 h 646355"/>
                    <a:gd name="connsiteX19" fmla="*/ 783966 w 2122542"/>
                    <a:gd name="connsiteY19" fmla="*/ 80192 h 646355"/>
                    <a:gd name="connsiteX20" fmla="*/ 1043701 w 2122542"/>
                    <a:gd name="connsiteY20" fmla="*/ 13520 h 646355"/>
                    <a:gd name="connsiteX21" fmla="*/ 1175531 w 2122542"/>
                    <a:gd name="connsiteY21" fmla="*/ 7913 h 646355"/>
                    <a:gd name="connsiteX22" fmla="*/ 1435714 w 2122542"/>
                    <a:gd name="connsiteY22" fmla="*/ 63 h 646355"/>
                    <a:gd name="connsiteX23" fmla="*/ 1851222 w 2122542"/>
                    <a:gd name="connsiteY23" fmla="*/ 58492 h 646355"/>
                    <a:gd name="connsiteX24" fmla="*/ 1954062 w 2122542"/>
                    <a:gd name="connsiteY24" fmla="*/ 196378 h 646355"/>
                    <a:gd name="connsiteX25" fmla="*/ 2072154 w 2122542"/>
                    <a:gd name="connsiteY25" fmla="*/ 309927 h 646355"/>
                    <a:gd name="connsiteX26" fmla="*/ 2118807 w 2122542"/>
                    <a:gd name="connsiteY26" fmla="*/ 425384 h 646355"/>
                    <a:gd name="connsiteX27" fmla="*/ 2119649 w 2122542"/>
                    <a:gd name="connsiteY27" fmla="*/ 430991 h 646355"/>
                    <a:gd name="connsiteX28" fmla="*/ 2080117 w 2122542"/>
                    <a:gd name="connsiteY28" fmla="*/ 607176 h 646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122542" h="646355">
                      <a:moveTo>
                        <a:pt x="2080117" y="607176"/>
                      </a:moveTo>
                      <a:lnTo>
                        <a:pt x="2080117" y="603923"/>
                      </a:lnTo>
                      <a:cubicBezTo>
                        <a:pt x="2080117" y="499345"/>
                        <a:pt x="1997800" y="414113"/>
                        <a:pt x="1896250" y="414113"/>
                      </a:cubicBezTo>
                      <a:cubicBezTo>
                        <a:pt x="1808887" y="414113"/>
                        <a:pt x="1735654" y="477084"/>
                        <a:pt x="1716813" y="561195"/>
                      </a:cubicBezTo>
                      <a:cubicBezTo>
                        <a:pt x="1715431" y="566732"/>
                        <a:pt x="1714401" y="572350"/>
                        <a:pt x="1713729" y="578017"/>
                      </a:cubicBezTo>
                      <a:lnTo>
                        <a:pt x="1478835" y="601961"/>
                      </a:lnTo>
                      <a:cubicBezTo>
                        <a:pt x="1478835" y="601961"/>
                        <a:pt x="1136784" y="614185"/>
                        <a:pt x="836956" y="625960"/>
                      </a:cubicBezTo>
                      <a:cubicBezTo>
                        <a:pt x="836956" y="624166"/>
                        <a:pt x="836283" y="622652"/>
                        <a:pt x="836059" y="621138"/>
                      </a:cubicBezTo>
                      <a:cubicBezTo>
                        <a:pt x="812213" y="506151"/>
                        <a:pt x="699667" y="432266"/>
                        <a:pt x="584680" y="456112"/>
                      </a:cubicBezTo>
                      <a:cubicBezTo>
                        <a:pt x="501700" y="473320"/>
                        <a:pt x="436862" y="538159"/>
                        <a:pt x="419654" y="621138"/>
                      </a:cubicBezTo>
                      <a:lnTo>
                        <a:pt x="419654" y="621138"/>
                      </a:lnTo>
                      <a:cubicBezTo>
                        <a:pt x="418052" y="628916"/>
                        <a:pt x="416891" y="636779"/>
                        <a:pt x="416177" y="644689"/>
                      </a:cubicBezTo>
                      <a:lnTo>
                        <a:pt x="415336" y="644689"/>
                      </a:lnTo>
                      <a:cubicBezTo>
                        <a:pt x="274366" y="654895"/>
                        <a:pt x="67677" y="613961"/>
                        <a:pt x="39248" y="599550"/>
                      </a:cubicBezTo>
                      <a:cubicBezTo>
                        <a:pt x="21809" y="590858"/>
                        <a:pt x="6557" y="564279"/>
                        <a:pt x="-4" y="525700"/>
                      </a:cubicBezTo>
                      <a:cubicBezTo>
                        <a:pt x="-4" y="525027"/>
                        <a:pt x="-4" y="524579"/>
                        <a:pt x="-4" y="523962"/>
                      </a:cubicBezTo>
                      <a:cubicBezTo>
                        <a:pt x="12444" y="439851"/>
                        <a:pt x="59266" y="401272"/>
                        <a:pt x="124873" y="350133"/>
                      </a:cubicBezTo>
                      <a:cubicBezTo>
                        <a:pt x="183246" y="304600"/>
                        <a:pt x="377205" y="250545"/>
                        <a:pt x="451503" y="230919"/>
                      </a:cubicBezTo>
                      <a:lnTo>
                        <a:pt x="472419" y="225312"/>
                      </a:lnTo>
                      <a:cubicBezTo>
                        <a:pt x="502026" y="217461"/>
                        <a:pt x="666547" y="137948"/>
                        <a:pt x="783966" y="80192"/>
                      </a:cubicBezTo>
                      <a:cubicBezTo>
                        <a:pt x="865031" y="40323"/>
                        <a:pt x="953456" y="17625"/>
                        <a:pt x="1043701" y="13520"/>
                      </a:cubicBezTo>
                      <a:cubicBezTo>
                        <a:pt x="1082953" y="11782"/>
                        <a:pt x="1128260" y="9819"/>
                        <a:pt x="1175531" y="7913"/>
                      </a:cubicBezTo>
                      <a:cubicBezTo>
                        <a:pt x="1262502" y="4436"/>
                        <a:pt x="1356818" y="1184"/>
                        <a:pt x="1435714" y="63"/>
                      </a:cubicBezTo>
                      <a:cubicBezTo>
                        <a:pt x="1645767" y="-2965"/>
                        <a:pt x="1840568" y="55408"/>
                        <a:pt x="1851222" y="58492"/>
                      </a:cubicBezTo>
                      <a:cubicBezTo>
                        <a:pt x="1861876" y="61576"/>
                        <a:pt x="1926418" y="162621"/>
                        <a:pt x="1954062" y="196378"/>
                      </a:cubicBezTo>
                      <a:cubicBezTo>
                        <a:pt x="1981706" y="230134"/>
                        <a:pt x="2072154" y="309927"/>
                        <a:pt x="2072154" y="309927"/>
                      </a:cubicBezTo>
                      <a:cubicBezTo>
                        <a:pt x="2072154" y="309927"/>
                        <a:pt x="2100191" y="312955"/>
                        <a:pt x="2118807" y="425384"/>
                      </a:cubicBezTo>
                      <a:cubicBezTo>
                        <a:pt x="2118807" y="427346"/>
                        <a:pt x="2119480" y="429085"/>
                        <a:pt x="2119649" y="430991"/>
                      </a:cubicBezTo>
                      <a:cubicBezTo>
                        <a:pt x="2129150" y="492603"/>
                        <a:pt x="2115031" y="555530"/>
                        <a:pt x="2080117" y="607176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2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7207C435-238E-44C6-BE0C-692F42EB7EEA}"/>
                    </a:ext>
                  </a:extLst>
                </p:cNvPr>
                <p:cNvSpPr/>
                <p:nvPr/>
              </p:nvSpPr>
              <p:spPr>
                <a:xfrm>
                  <a:off x="2376819" y="4306162"/>
                  <a:ext cx="1948234" cy="488452"/>
                </a:xfrm>
                <a:custGeom>
                  <a:avLst/>
                  <a:gdLst>
                    <a:gd name="connsiteX0" fmla="*/ -4 w 1948234"/>
                    <a:gd name="connsiteY0" fmla="*/ 460825 h 488452"/>
                    <a:gd name="connsiteX1" fmla="*/ 161209 w 1948234"/>
                    <a:gd name="connsiteY1" fmla="*/ 488245 h 488452"/>
                    <a:gd name="connsiteX2" fmla="*/ 240217 w 1948234"/>
                    <a:gd name="connsiteY2" fmla="*/ 480002 h 488452"/>
                    <a:gd name="connsiteX3" fmla="*/ 311711 w 1948234"/>
                    <a:gd name="connsiteY3" fmla="*/ 448320 h 488452"/>
                    <a:gd name="connsiteX4" fmla="*/ 504998 w 1948234"/>
                    <a:gd name="connsiteY4" fmla="*/ 346770 h 488452"/>
                    <a:gd name="connsiteX5" fmla="*/ 592305 w 1948234"/>
                    <a:gd name="connsiteY5" fmla="*/ 310266 h 488452"/>
                    <a:gd name="connsiteX6" fmla="*/ 682304 w 1948234"/>
                    <a:gd name="connsiteY6" fmla="*/ 303145 h 488452"/>
                    <a:gd name="connsiteX7" fmla="*/ 925161 w 1948234"/>
                    <a:gd name="connsiteY7" fmla="*/ 302752 h 488452"/>
                    <a:gd name="connsiteX8" fmla="*/ 1614871 w 1948234"/>
                    <a:gd name="connsiteY8" fmla="*/ 216679 h 488452"/>
                    <a:gd name="connsiteX9" fmla="*/ 1948231 w 1948234"/>
                    <a:gd name="connsiteY9" fmla="*/ 218361 h 488452"/>
                    <a:gd name="connsiteX10" fmla="*/ 1833784 w 1948234"/>
                    <a:gd name="connsiteY10" fmla="*/ 145969 h 488452"/>
                    <a:gd name="connsiteX11" fmla="*/ 1811746 w 1948234"/>
                    <a:gd name="connsiteY11" fmla="*/ 115353 h 488452"/>
                    <a:gd name="connsiteX12" fmla="*/ 1813429 w 1948234"/>
                    <a:gd name="connsiteY12" fmla="*/ 80811 h 488452"/>
                    <a:gd name="connsiteX13" fmla="*/ 1776251 w 1948234"/>
                    <a:gd name="connsiteY13" fmla="*/ 32868 h 488452"/>
                    <a:gd name="connsiteX14" fmla="*/ 1713448 w 1948234"/>
                    <a:gd name="connsiteY14" fmla="*/ 22551 h 488452"/>
                    <a:gd name="connsiteX15" fmla="*/ 1160111 w 1948234"/>
                    <a:gd name="connsiteY15" fmla="*/ 2252 h 488452"/>
                    <a:gd name="connsiteX16" fmla="*/ 939740 w 1948234"/>
                    <a:gd name="connsiteY16" fmla="*/ 6401 h 488452"/>
                    <a:gd name="connsiteX17" fmla="*/ 258833 w 1948234"/>
                    <a:gd name="connsiteY17" fmla="*/ 271575 h 488452"/>
                    <a:gd name="connsiteX18" fmla="*/ 98181 w 1948234"/>
                    <a:gd name="connsiteY18" fmla="*/ 333256 h 488452"/>
                    <a:gd name="connsiteX19" fmla="*/ -4 w 1948234"/>
                    <a:gd name="connsiteY19" fmla="*/ 460825 h 488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948234" h="488452">
                      <a:moveTo>
                        <a:pt x="-4" y="460825"/>
                      </a:moveTo>
                      <a:cubicBezTo>
                        <a:pt x="50462" y="482133"/>
                        <a:pt x="106536" y="488077"/>
                        <a:pt x="161209" y="488245"/>
                      </a:cubicBezTo>
                      <a:cubicBezTo>
                        <a:pt x="187797" y="489115"/>
                        <a:pt x="214380" y="486341"/>
                        <a:pt x="240217" y="480002"/>
                      </a:cubicBezTo>
                      <a:cubicBezTo>
                        <a:pt x="265128" y="472071"/>
                        <a:pt x="289102" y="461447"/>
                        <a:pt x="311711" y="448320"/>
                      </a:cubicBezTo>
                      <a:cubicBezTo>
                        <a:pt x="375972" y="414115"/>
                        <a:pt x="440401" y="380265"/>
                        <a:pt x="504998" y="346770"/>
                      </a:cubicBezTo>
                      <a:cubicBezTo>
                        <a:pt x="533035" y="332191"/>
                        <a:pt x="561577" y="317556"/>
                        <a:pt x="592305" y="310266"/>
                      </a:cubicBezTo>
                      <a:cubicBezTo>
                        <a:pt x="621688" y="303313"/>
                        <a:pt x="652136" y="303201"/>
                        <a:pt x="682304" y="303145"/>
                      </a:cubicBezTo>
                      <a:lnTo>
                        <a:pt x="925161" y="302752"/>
                      </a:lnTo>
                      <a:cubicBezTo>
                        <a:pt x="1155064" y="302360"/>
                        <a:pt x="1385472" y="228623"/>
                        <a:pt x="1614871" y="216679"/>
                      </a:cubicBezTo>
                      <a:cubicBezTo>
                        <a:pt x="1725932" y="210903"/>
                        <a:pt x="1837233" y="211464"/>
                        <a:pt x="1948231" y="218361"/>
                      </a:cubicBezTo>
                      <a:cubicBezTo>
                        <a:pt x="1906726" y="199996"/>
                        <a:pt x="1868161" y="175602"/>
                        <a:pt x="1833784" y="145969"/>
                      </a:cubicBezTo>
                      <a:cubicBezTo>
                        <a:pt x="1824083" y="137614"/>
                        <a:pt x="1814214" y="127914"/>
                        <a:pt x="1811746" y="115353"/>
                      </a:cubicBezTo>
                      <a:cubicBezTo>
                        <a:pt x="1809559" y="104138"/>
                        <a:pt x="1813821" y="92363"/>
                        <a:pt x="1813429" y="80811"/>
                      </a:cubicBezTo>
                      <a:cubicBezTo>
                        <a:pt x="1812700" y="59503"/>
                        <a:pt x="1795821" y="41560"/>
                        <a:pt x="1776251" y="32868"/>
                      </a:cubicBezTo>
                      <a:cubicBezTo>
                        <a:pt x="1756682" y="24177"/>
                        <a:pt x="1734757" y="23336"/>
                        <a:pt x="1713448" y="22551"/>
                      </a:cubicBezTo>
                      <a:cubicBezTo>
                        <a:pt x="1529003" y="15560"/>
                        <a:pt x="1344557" y="8794"/>
                        <a:pt x="1160111" y="2252"/>
                      </a:cubicBezTo>
                      <a:cubicBezTo>
                        <a:pt x="1086598" y="-271"/>
                        <a:pt x="1012748" y="-2683"/>
                        <a:pt x="939740" y="6401"/>
                      </a:cubicBezTo>
                      <a:cubicBezTo>
                        <a:pt x="697108" y="36681"/>
                        <a:pt x="489073" y="189203"/>
                        <a:pt x="258833" y="271575"/>
                      </a:cubicBezTo>
                      <a:cubicBezTo>
                        <a:pt x="204778" y="290977"/>
                        <a:pt x="148984" y="306621"/>
                        <a:pt x="98181" y="333256"/>
                      </a:cubicBezTo>
                      <a:cubicBezTo>
                        <a:pt x="47378" y="359892"/>
                        <a:pt x="20968" y="407386"/>
                        <a:pt x="-4" y="460825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183" name="Group 182">
                  <a:extLst>
                    <a:ext uri="{FF2B5EF4-FFF2-40B4-BE49-F238E27FC236}">
                      <a16:creationId xmlns:a16="http://schemas.microsoft.com/office/drawing/2014/main" id="{F0E42306-5862-4236-90EC-D9F813C18E2B}"/>
                    </a:ext>
                  </a:extLst>
                </p:cNvPr>
                <p:cNvGrpSpPr/>
                <p:nvPr/>
              </p:nvGrpSpPr>
              <p:grpSpPr>
                <a:xfrm>
                  <a:off x="2531359" y="4289961"/>
                  <a:ext cx="1914274" cy="810268"/>
                  <a:chOff x="2531359" y="4289961"/>
                  <a:chExt cx="1914274" cy="810268"/>
                </a:xfrm>
              </p:grpSpPr>
              <p:sp>
                <p:nvSpPr>
                  <p:cNvPr id="184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AEC74A50-8C0E-4BD5-BA6F-6ACDECDE42FD}"/>
                      </a:ext>
                    </a:extLst>
                  </p:cNvPr>
                  <p:cNvSpPr/>
                  <p:nvPr/>
                </p:nvSpPr>
                <p:spPr>
                  <a:xfrm>
                    <a:off x="2713534" y="4659128"/>
                    <a:ext cx="1732099" cy="353160"/>
                  </a:xfrm>
                  <a:custGeom>
                    <a:avLst/>
                    <a:gdLst>
                      <a:gd name="connsiteX0" fmla="*/ 371159 w 1732099"/>
                      <a:gd name="connsiteY0" fmla="*/ 306136 h 353160"/>
                      <a:gd name="connsiteX1" fmla="*/ 450672 w 1732099"/>
                      <a:gd name="connsiteY1" fmla="*/ 324529 h 353160"/>
                      <a:gd name="connsiteX2" fmla="*/ 553399 w 1732099"/>
                      <a:gd name="connsiteY2" fmla="*/ 330136 h 353160"/>
                      <a:gd name="connsiteX3" fmla="*/ 1306641 w 1732099"/>
                      <a:gd name="connsiteY3" fmla="*/ 279669 h 353160"/>
                      <a:gd name="connsiteX4" fmla="*/ 1355369 w 1732099"/>
                      <a:gd name="connsiteY4" fmla="*/ 268006 h 353160"/>
                      <a:gd name="connsiteX5" fmla="*/ 1395799 w 1732099"/>
                      <a:gd name="connsiteY5" fmla="*/ 238062 h 353160"/>
                      <a:gd name="connsiteX6" fmla="*/ 1544675 w 1732099"/>
                      <a:gd name="connsiteY6" fmla="*/ 205091 h 353160"/>
                      <a:gd name="connsiteX7" fmla="*/ 1699047 w 1732099"/>
                      <a:gd name="connsiteY7" fmla="*/ 225502 h 353160"/>
                      <a:gd name="connsiteX8" fmla="*/ 1720467 w 1732099"/>
                      <a:gd name="connsiteY8" fmla="*/ 222306 h 353160"/>
                      <a:gd name="connsiteX9" fmla="*/ 1731682 w 1732099"/>
                      <a:gd name="connsiteY9" fmla="*/ 184344 h 353160"/>
                      <a:gd name="connsiteX10" fmla="*/ 1678468 w 1732099"/>
                      <a:gd name="connsiteY10" fmla="*/ 38551 h 353160"/>
                      <a:gd name="connsiteX11" fmla="*/ 1518096 w 1732099"/>
                      <a:gd name="connsiteY11" fmla="*/ 84 h 353160"/>
                      <a:gd name="connsiteX12" fmla="*/ 1380210 w 1732099"/>
                      <a:gd name="connsiteY12" fmla="*/ 11299 h 353160"/>
                      <a:gd name="connsiteX13" fmla="*/ 1240530 w 1732099"/>
                      <a:gd name="connsiteY13" fmla="*/ 57000 h 353160"/>
                      <a:gd name="connsiteX14" fmla="*/ 947487 w 1732099"/>
                      <a:gd name="connsiteY14" fmla="*/ 77410 h 353160"/>
                      <a:gd name="connsiteX15" fmla="*/ 402841 w 1732099"/>
                      <a:gd name="connsiteY15" fmla="*/ 57168 h 353160"/>
                      <a:gd name="connsiteX16" fmla="*/ 178208 w 1732099"/>
                      <a:gd name="connsiteY16" fmla="*/ 71971 h 353160"/>
                      <a:gd name="connsiteX17" fmla="*/ 285 w 1732099"/>
                      <a:gd name="connsiteY17" fmla="*/ 249950 h 353160"/>
                      <a:gd name="connsiteX18" fmla="*/ 71611 w 1732099"/>
                      <a:gd name="connsiteY18" fmla="*/ 352734 h 353160"/>
                      <a:gd name="connsiteX19" fmla="*/ 371159 w 1732099"/>
                      <a:gd name="connsiteY19" fmla="*/ 306136 h 3531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732099" h="353160">
                        <a:moveTo>
                          <a:pt x="371159" y="306136"/>
                        </a:moveTo>
                        <a:cubicBezTo>
                          <a:pt x="398018" y="310678"/>
                          <a:pt x="423924" y="319594"/>
                          <a:pt x="450672" y="324529"/>
                        </a:cubicBezTo>
                        <a:cubicBezTo>
                          <a:pt x="484316" y="330753"/>
                          <a:pt x="519082" y="330472"/>
                          <a:pt x="553399" y="330136"/>
                        </a:cubicBezTo>
                        <a:cubicBezTo>
                          <a:pt x="805181" y="326278"/>
                          <a:pt x="1056595" y="309433"/>
                          <a:pt x="1306641" y="279669"/>
                        </a:cubicBezTo>
                        <a:cubicBezTo>
                          <a:pt x="1323439" y="278648"/>
                          <a:pt x="1339929" y="274700"/>
                          <a:pt x="1355369" y="268006"/>
                        </a:cubicBezTo>
                        <a:cubicBezTo>
                          <a:pt x="1370397" y="260492"/>
                          <a:pt x="1382285" y="248044"/>
                          <a:pt x="1395799" y="238062"/>
                        </a:cubicBezTo>
                        <a:cubicBezTo>
                          <a:pt x="1437574" y="207222"/>
                          <a:pt x="1492863" y="201054"/>
                          <a:pt x="1544675" y="205091"/>
                        </a:cubicBezTo>
                        <a:cubicBezTo>
                          <a:pt x="1596487" y="209128"/>
                          <a:pt x="1647235" y="222194"/>
                          <a:pt x="1699047" y="225502"/>
                        </a:cubicBezTo>
                        <a:cubicBezTo>
                          <a:pt x="1706346" y="226624"/>
                          <a:pt x="1713814" y="225510"/>
                          <a:pt x="1720467" y="222306"/>
                        </a:cubicBezTo>
                        <a:cubicBezTo>
                          <a:pt x="1732411" y="215072"/>
                          <a:pt x="1732803" y="198194"/>
                          <a:pt x="1731682" y="184344"/>
                        </a:cubicBezTo>
                        <a:cubicBezTo>
                          <a:pt x="1727084" y="131410"/>
                          <a:pt x="1717831" y="73934"/>
                          <a:pt x="1678468" y="38551"/>
                        </a:cubicBezTo>
                        <a:cubicBezTo>
                          <a:pt x="1636636" y="701"/>
                          <a:pt x="1574450" y="-701"/>
                          <a:pt x="1518096" y="84"/>
                        </a:cubicBezTo>
                        <a:cubicBezTo>
                          <a:pt x="1471891" y="701"/>
                          <a:pt x="1425294" y="1374"/>
                          <a:pt x="1380210" y="11299"/>
                        </a:cubicBezTo>
                        <a:cubicBezTo>
                          <a:pt x="1332379" y="22065"/>
                          <a:pt x="1287576" y="43261"/>
                          <a:pt x="1240530" y="57000"/>
                        </a:cubicBezTo>
                        <a:cubicBezTo>
                          <a:pt x="1146101" y="84476"/>
                          <a:pt x="1045785" y="81055"/>
                          <a:pt x="947487" y="77410"/>
                        </a:cubicBezTo>
                        <a:lnTo>
                          <a:pt x="402841" y="57168"/>
                        </a:lnTo>
                        <a:cubicBezTo>
                          <a:pt x="327533" y="54420"/>
                          <a:pt x="250768" y="51560"/>
                          <a:pt x="178208" y="71971"/>
                        </a:cubicBezTo>
                        <a:cubicBezTo>
                          <a:pt x="105648" y="92382"/>
                          <a:pt x="-6444" y="160344"/>
                          <a:pt x="285" y="249950"/>
                        </a:cubicBezTo>
                        <a:cubicBezTo>
                          <a:pt x="5893" y="326940"/>
                          <a:pt x="19126" y="356883"/>
                          <a:pt x="71611" y="352734"/>
                        </a:cubicBezTo>
                        <a:cubicBezTo>
                          <a:pt x="135311" y="347407"/>
                          <a:pt x="307459" y="295258"/>
                          <a:pt x="371159" y="306136"/>
                        </a:cubicBezTo>
                        <a:close/>
                      </a:path>
                    </a:pathLst>
                  </a:custGeom>
                  <a:solidFill>
                    <a:srgbClr val="0B274F"/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5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4707647C-A622-4C49-B214-48AA746BF413}"/>
                      </a:ext>
                    </a:extLst>
                  </p:cNvPr>
                  <p:cNvSpPr/>
                  <p:nvPr/>
                </p:nvSpPr>
                <p:spPr>
                  <a:xfrm>
                    <a:off x="2713534" y="4659128"/>
                    <a:ext cx="1732099" cy="353160"/>
                  </a:xfrm>
                  <a:custGeom>
                    <a:avLst/>
                    <a:gdLst>
                      <a:gd name="connsiteX0" fmla="*/ 371159 w 1732099"/>
                      <a:gd name="connsiteY0" fmla="*/ 306136 h 353160"/>
                      <a:gd name="connsiteX1" fmla="*/ 450672 w 1732099"/>
                      <a:gd name="connsiteY1" fmla="*/ 324529 h 353160"/>
                      <a:gd name="connsiteX2" fmla="*/ 553399 w 1732099"/>
                      <a:gd name="connsiteY2" fmla="*/ 330136 h 353160"/>
                      <a:gd name="connsiteX3" fmla="*/ 1306641 w 1732099"/>
                      <a:gd name="connsiteY3" fmla="*/ 279669 h 353160"/>
                      <a:gd name="connsiteX4" fmla="*/ 1355369 w 1732099"/>
                      <a:gd name="connsiteY4" fmla="*/ 268006 h 353160"/>
                      <a:gd name="connsiteX5" fmla="*/ 1395799 w 1732099"/>
                      <a:gd name="connsiteY5" fmla="*/ 238062 h 353160"/>
                      <a:gd name="connsiteX6" fmla="*/ 1544675 w 1732099"/>
                      <a:gd name="connsiteY6" fmla="*/ 205091 h 353160"/>
                      <a:gd name="connsiteX7" fmla="*/ 1699047 w 1732099"/>
                      <a:gd name="connsiteY7" fmla="*/ 225502 h 353160"/>
                      <a:gd name="connsiteX8" fmla="*/ 1720467 w 1732099"/>
                      <a:gd name="connsiteY8" fmla="*/ 222306 h 353160"/>
                      <a:gd name="connsiteX9" fmla="*/ 1731682 w 1732099"/>
                      <a:gd name="connsiteY9" fmla="*/ 184344 h 353160"/>
                      <a:gd name="connsiteX10" fmla="*/ 1678468 w 1732099"/>
                      <a:gd name="connsiteY10" fmla="*/ 38551 h 353160"/>
                      <a:gd name="connsiteX11" fmla="*/ 1518096 w 1732099"/>
                      <a:gd name="connsiteY11" fmla="*/ 84 h 353160"/>
                      <a:gd name="connsiteX12" fmla="*/ 1380210 w 1732099"/>
                      <a:gd name="connsiteY12" fmla="*/ 11299 h 353160"/>
                      <a:gd name="connsiteX13" fmla="*/ 1240530 w 1732099"/>
                      <a:gd name="connsiteY13" fmla="*/ 57000 h 353160"/>
                      <a:gd name="connsiteX14" fmla="*/ 947487 w 1732099"/>
                      <a:gd name="connsiteY14" fmla="*/ 77410 h 353160"/>
                      <a:gd name="connsiteX15" fmla="*/ 402841 w 1732099"/>
                      <a:gd name="connsiteY15" fmla="*/ 57168 h 353160"/>
                      <a:gd name="connsiteX16" fmla="*/ 178208 w 1732099"/>
                      <a:gd name="connsiteY16" fmla="*/ 71971 h 353160"/>
                      <a:gd name="connsiteX17" fmla="*/ 285 w 1732099"/>
                      <a:gd name="connsiteY17" fmla="*/ 249950 h 353160"/>
                      <a:gd name="connsiteX18" fmla="*/ 71611 w 1732099"/>
                      <a:gd name="connsiteY18" fmla="*/ 352734 h 353160"/>
                      <a:gd name="connsiteX19" fmla="*/ 371159 w 1732099"/>
                      <a:gd name="connsiteY19" fmla="*/ 306136 h 3531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732099" h="353160">
                        <a:moveTo>
                          <a:pt x="371159" y="306136"/>
                        </a:moveTo>
                        <a:cubicBezTo>
                          <a:pt x="398018" y="310678"/>
                          <a:pt x="423924" y="319594"/>
                          <a:pt x="450672" y="324529"/>
                        </a:cubicBezTo>
                        <a:cubicBezTo>
                          <a:pt x="484316" y="330753"/>
                          <a:pt x="519082" y="330472"/>
                          <a:pt x="553399" y="330136"/>
                        </a:cubicBezTo>
                        <a:cubicBezTo>
                          <a:pt x="805181" y="326278"/>
                          <a:pt x="1056595" y="309433"/>
                          <a:pt x="1306641" y="279669"/>
                        </a:cubicBezTo>
                        <a:cubicBezTo>
                          <a:pt x="1323439" y="278648"/>
                          <a:pt x="1339929" y="274700"/>
                          <a:pt x="1355369" y="268006"/>
                        </a:cubicBezTo>
                        <a:cubicBezTo>
                          <a:pt x="1370397" y="260492"/>
                          <a:pt x="1382285" y="248044"/>
                          <a:pt x="1395799" y="238062"/>
                        </a:cubicBezTo>
                        <a:cubicBezTo>
                          <a:pt x="1437574" y="207222"/>
                          <a:pt x="1492863" y="201054"/>
                          <a:pt x="1544675" y="205091"/>
                        </a:cubicBezTo>
                        <a:cubicBezTo>
                          <a:pt x="1596487" y="209128"/>
                          <a:pt x="1647235" y="222194"/>
                          <a:pt x="1699047" y="225502"/>
                        </a:cubicBezTo>
                        <a:cubicBezTo>
                          <a:pt x="1706346" y="226624"/>
                          <a:pt x="1713814" y="225510"/>
                          <a:pt x="1720467" y="222306"/>
                        </a:cubicBezTo>
                        <a:cubicBezTo>
                          <a:pt x="1732411" y="215072"/>
                          <a:pt x="1732803" y="198194"/>
                          <a:pt x="1731682" y="184344"/>
                        </a:cubicBezTo>
                        <a:cubicBezTo>
                          <a:pt x="1727084" y="131410"/>
                          <a:pt x="1717831" y="73934"/>
                          <a:pt x="1678468" y="38551"/>
                        </a:cubicBezTo>
                        <a:cubicBezTo>
                          <a:pt x="1636636" y="701"/>
                          <a:pt x="1574450" y="-701"/>
                          <a:pt x="1518096" y="84"/>
                        </a:cubicBezTo>
                        <a:cubicBezTo>
                          <a:pt x="1471891" y="701"/>
                          <a:pt x="1425294" y="1374"/>
                          <a:pt x="1380210" y="11299"/>
                        </a:cubicBezTo>
                        <a:cubicBezTo>
                          <a:pt x="1332379" y="22065"/>
                          <a:pt x="1287576" y="43261"/>
                          <a:pt x="1240530" y="57000"/>
                        </a:cubicBezTo>
                        <a:cubicBezTo>
                          <a:pt x="1146101" y="84476"/>
                          <a:pt x="1045785" y="81055"/>
                          <a:pt x="947487" y="77410"/>
                        </a:cubicBezTo>
                        <a:lnTo>
                          <a:pt x="402841" y="57168"/>
                        </a:lnTo>
                        <a:cubicBezTo>
                          <a:pt x="327533" y="54420"/>
                          <a:pt x="250768" y="51560"/>
                          <a:pt x="178208" y="71971"/>
                        </a:cubicBezTo>
                        <a:cubicBezTo>
                          <a:pt x="105648" y="92382"/>
                          <a:pt x="-6444" y="160344"/>
                          <a:pt x="285" y="249950"/>
                        </a:cubicBezTo>
                        <a:cubicBezTo>
                          <a:pt x="5893" y="326940"/>
                          <a:pt x="19126" y="356883"/>
                          <a:pt x="71611" y="352734"/>
                        </a:cubicBezTo>
                        <a:cubicBezTo>
                          <a:pt x="135311" y="347407"/>
                          <a:pt x="307459" y="295258"/>
                          <a:pt x="371159" y="306136"/>
                        </a:cubicBezTo>
                        <a:close/>
                      </a:path>
                    </a:pathLst>
                  </a:custGeom>
                  <a:solidFill>
                    <a:schemeClr val="tx1">
                      <a:lumMod val="65000"/>
                      <a:lumOff val="35000"/>
                    </a:schemeClr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86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010AFC94-15EF-4D32-8C5E-378AED90C955}"/>
                      </a:ext>
                    </a:extLst>
                  </p:cNvPr>
                  <p:cNvSpPr/>
                  <p:nvPr/>
                </p:nvSpPr>
                <p:spPr>
                  <a:xfrm>
                    <a:off x="3194266" y="4859336"/>
                    <a:ext cx="885968" cy="133792"/>
                  </a:xfrm>
                  <a:custGeom>
                    <a:avLst/>
                    <a:gdLst>
                      <a:gd name="connsiteX0" fmla="*/ 885965 w 885968"/>
                      <a:gd name="connsiteY0" fmla="*/ 85125 h 133792"/>
                      <a:gd name="connsiteX1" fmla="*/ 885965 w 885968"/>
                      <a:gd name="connsiteY1" fmla="*/ 85125 h 133792"/>
                      <a:gd name="connsiteX2" fmla="*/ 643837 w 885968"/>
                      <a:gd name="connsiteY2" fmla="*/ 109742 h 133792"/>
                      <a:gd name="connsiteX3" fmla="*/ -4 w 885968"/>
                      <a:gd name="connsiteY3" fmla="*/ 133741 h 133792"/>
                      <a:gd name="connsiteX4" fmla="*/ 5603 w 885968"/>
                      <a:gd name="connsiteY4" fmla="*/ 86022 h 133792"/>
                      <a:gd name="connsiteX5" fmla="*/ 2127 w 885968"/>
                      <a:gd name="connsiteY5" fmla="*/ 47892 h 133792"/>
                      <a:gd name="connsiteX6" fmla="*/ 644006 w 885968"/>
                      <a:gd name="connsiteY6" fmla="*/ 23892 h 133792"/>
                      <a:gd name="connsiteX7" fmla="*/ 878899 w 885968"/>
                      <a:gd name="connsiteY7" fmla="*/ -51 h 133792"/>
                      <a:gd name="connsiteX8" fmla="*/ 877161 w 885968"/>
                      <a:gd name="connsiteY8" fmla="*/ 26079 h 133792"/>
                      <a:gd name="connsiteX9" fmla="*/ 885965 w 885968"/>
                      <a:gd name="connsiteY9" fmla="*/ 85125 h 133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85968" h="133792">
                        <a:moveTo>
                          <a:pt x="885965" y="85125"/>
                        </a:moveTo>
                        <a:lnTo>
                          <a:pt x="885965" y="85125"/>
                        </a:lnTo>
                        <a:lnTo>
                          <a:pt x="643837" y="109742"/>
                        </a:lnTo>
                        <a:cubicBezTo>
                          <a:pt x="643837" y="109742"/>
                          <a:pt x="300048" y="121966"/>
                          <a:pt x="-4" y="133741"/>
                        </a:cubicBezTo>
                        <a:cubicBezTo>
                          <a:pt x="3636" y="118093"/>
                          <a:pt x="5517" y="102088"/>
                          <a:pt x="5603" y="86022"/>
                        </a:cubicBezTo>
                        <a:cubicBezTo>
                          <a:pt x="5658" y="73230"/>
                          <a:pt x="4494" y="60463"/>
                          <a:pt x="2127" y="47892"/>
                        </a:cubicBezTo>
                        <a:cubicBezTo>
                          <a:pt x="301730" y="36116"/>
                          <a:pt x="644006" y="23892"/>
                          <a:pt x="644006" y="23892"/>
                        </a:cubicBezTo>
                        <a:lnTo>
                          <a:pt x="878899" y="-51"/>
                        </a:lnTo>
                        <a:cubicBezTo>
                          <a:pt x="877775" y="8614"/>
                          <a:pt x="877195" y="17341"/>
                          <a:pt x="877161" y="26079"/>
                        </a:cubicBezTo>
                        <a:cubicBezTo>
                          <a:pt x="877033" y="46098"/>
                          <a:pt x="880002" y="66015"/>
                          <a:pt x="885965" y="85125"/>
                        </a:cubicBezTo>
                        <a:close/>
                      </a:path>
                    </a:pathLst>
                  </a:custGeom>
                  <a:solidFill>
                    <a:srgbClr val="0B274F"/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7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A74CE4A5-558C-448D-8CC0-9F829A47FB63}"/>
                      </a:ext>
                    </a:extLst>
                  </p:cNvPr>
                  <p:cNvSpPr/>
                  <p:nvPr/>
                </p:nvSpPr>
                <p:spPr>
                  <a:xfrm>
                    <a:off x="3194266" y="4859336"/>
                    <a:ext cx="885968" cy="133792"/>
                  </a:xfrm>
                  <a:custGeom>
                    <a:avLst/>
                    <a:gdLst>
                      <a:gd name="connsiteX0" fmla="*/ 885965 w 885968"/>
                      <a:gd name="connsiteY0" fmla="*/ 85125 h 133792"/>
                      <a:gd name="connsiteX1" fmla="*/ 885965 w 885968"/>
                      <a:gd name="connsiteY1" fmla="*/ 85125 h 133792"/>
                      <a:gd name="connsiteX2" fmla="*/ 643837 w 885968"/>
                      <a:gd name="connsiteY2" fmla="*/ 109742 h 133792"/>
                      <a:gd name="connsiteX3" fmla="*/ -4 w 885968"/>
                      <a:gd name="connsiteY3" fmla="*/ 133741 h 133792"/>
                      <a:gd name="connsiteX4" fmla="*/ 5603 w 885968"/>
                      <a:gd name="connsiteY4" fmla="*/ 86022 h 133792"/>
                      <a:gd name="connsiteX5" fmla="*/ 2127 w 885968"/>
                      <a:gd name="connsiteY5" fmla="*/ 47892 h 133792"/>
                      <a:gd name="connsiteX6" fmla="*/ 644006 w 885968"/>
                      <a:gd name="connsiteY6" fmla="*/ 23892 h 133792"/>
                      <a:gd name="connsiteX7" fmla="*/ 878899 w 885968"/>
                      <a:gd name="connsiteY7" fmla="*/ -51 h 133792"/>
                      <a:gd name="connsiteX8" fmla="*/ 877161 w 885968"/>
                      <a:gd name="connsiteY8" fmla="*/ 26079 h 133792"/>
                      <a:gd name="connsiteX9" fmla="*/ 885965 w 885968"/>
                      <a:gd name="connsiteY9" fmla="*/ 85125 h 133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85968" h="133792">
                        <a:moveTo>
                          <a:pt x="885965" y="85125"/>
                        </a:moveTo>
                        <a:lnTo>
                          <a:pt x="885965" y="85125"/>
                        </a:lnTo>
                        <a:lnTo>
                          <a:pt x="643837" y="109742"/>
                        </a:lnTo>
                        <a:cubicBezTo>
                          <a:pt x="643837" y="109742"/>
                          <a:pt x="300048" y="121966"/>
                          <a:pt x="-4" y="133741"/>
                        </a:cubicBezTo>
                        <a:cubicBezTo>
                          <a:pt x="3636" y="118093"/>
                          <a:pt x="5517" y="102088"/>
                          <a:pt x="5603" y="86022"/>
                        </a:cubicBezTo>
                        <a:cubicBezTo>
                          <a:pt x="5658" y="73230"/>
                          <a:pt x="4494" y="60463"/>
                          <a:pt x="2127" y="47892"/>
                        </a:cubicBezTo>
                        <a:cubicBezTo>
                          <a:pt x="301730" y="36116"/>
                          <a:pt x="644006" y="23892"/>
                          <a:pt x="644006" y="23892"/>
                        </a:cubicBezTo>
                        <a:lnTo>
                          <a:pt x="878899" y="-51"/>
                        </a:lnTo>
                        <a:cubicBezTo>
                          <a:pt x="877775" y="8614"/>
                          <a:pt x="877195" y="17341"/>
                          <a:pt x="877161" y="26079"/>
                        </a:cubicBezTo>
                        <a:cubicBezTo>
                          <a:pt x="877033" y="46098"/>
                          <a:pt x="880002" y="66015"/>
                          <a:pt x="885965" y="85125"/>
                        </a:cubicBezTo>
                        <a:close/>
                      </a:path>
                    </a:pathLst>
                  </a:custGeom>
                  <a:solidFill>
                    <a:srgbClr val="010101"/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8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83105C96-5928-4B0F-9C7D-EC2D18A29E8D}"/>
                      </a:ext>
                    </a:extLst>
                  </p:cNvPr>
                  <p:cNvSpPr/>
                  <p:nvPr/>
                </p:nvSpPr>
                <p:spPr>
                  <a:xfrm>
                    <a:off x="2811168" y="4289961"/>
                    <a:ext cx="723859" cy="245758"/>
                  </a:xfrm>
                  <a:custGeom>
                    <a:avLst/>
                    <a:gdLst>
                      <a:gd name="connsiteX0" fmla="*/ 723855 w 723859"/>
                      <a:gd name="connsiteY0" fmla="*/ -51 h 245758"/>
                      <a:gd name="connsiteX1" fmla="*/ 690939 w 723859"/>
                      <a:gd name="connsiteY1" fmla="*/ 12173 h 245758"/>
                      <a:gd name="connsiteX2" fmla="*/ 247955 w 723859"/>
                      <a:gd name="connsiteY2" fmla="*/ 229852 h 245758"/>
                      <a:gd name="connsiteX3" fmla="*/ 2575 w 723859"/>
                      <a:gd name="connsiteY3" fmla="*/ 232880 h 245758"/>
                      <a:gd name="connsiteX4" fmla="*/ -4 w 723859"/>
                      <a:gd name="connsiteY4" fmla="*/ 222619 h 245758"/>
                      <a:gd name="connsiteX5" fmla="*/ 20911 w 723859"/>
                      <a:gd name="connsiteY5" fmla="*/ 217011 h 245758"/>
                      <a:gd name="connsiteX6" fmla="*/ 332458 w 723859"/>
                      <a:gd name="connsiteY6" fmla="*/ 71892 h 245758"/>
                      <a:gd name="connsiteX7" fmla="*/ 592193 w 723859"/>
                      <a:gd name="connsiteY7" fmla="*/ 5220 h 245758"/>
                      <a:gd name="connsiteX8" fmla="*/ 723855 w 723859"/>
                      <a:gd name="connsiteY8" fmla="*/ -51 h 2457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23859" h="245758">
                        <a:moveTo>
                          <a:pt x="723855" y="-51"/>
                        </a:moveTo>
                        <a:cubicBezTo>
                          <a:pt x="720827" y="4771"/>
                          <a:pt x="710565" y="8865"/>
                          <a:pt x="690939" y="12173"/>
                        </a:cubicBezTo>
                        <a:cubicBezTo>
                          <a:pt x="563708" y="33537"/>
                          <a:pt x="338178" y="196040"/>
                          <a:pt x="247955" y="229852"/>
                        </a:cubicBezTo>
                        <a:cubicBezTo>
                          <a:pt x="157732" y="263665"/>
                          <a:pt x="2575" y="232880"/>
                          <a:pt x="2575" y="232880"/>
                        </a:cubicBezTo>
                        <a:cubicBezTo>
                          <a:pt x="1525" y="229510"/>
                          <a:pt x="664" y="226084"/>
                          <a:pt x="-4" y="222619"/>
                        </a:cubicBezTo>
                        <a:lnTo>
                          <a:pt x="20911" y="217011"/>
                        </a:lnTo>
                        <a:cubicBezTo>
                          <a:pt x="50518" y="209161"/>
                          <a:pt x="215039" y="129648"/>
                          <a:pt x="332458" y="71892"/>
                        </a:cubicBezTo>
                        <a:cubicBezTo>
                          <a:pt x="413523" y="32022"/>
                          <a:pt x="501948" y="9324"/>
                          <a:pt x="592193" y="5220"/>
                        </a:cubicBezTo>
                        <a:cubicBezTo>
                          <a:pt x="631501" y="3650"/>
                          <a:pt x="676584" y="1687"/>
                          <a:pt x="723855" y="-51"/>
                        </a:cubicBezTo>
                        <a:close/>
                      </a:path>
                    </a:pathLst>
                  </a:custGeom>
                  <a:solidFill>
                    <a:schemeClr val="bg2">
                      <a:alpha val="56000"/>
                    </a:schemeClr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9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08CE6360-E726-4BD4-A21A-AE6D7AA379F0}"/>
                      </a:ext>
                    </a:extLst>
                  </p:cNvPr>
                  <p:cNvSpPr/>
                  <p:nvPr/>
                </p:nvSpPr>
                <p:spPr>
                  <a:xfrm>
                    <a:off x="3147874" y="4317628"/>
                    <a:ext cx="1011439" cy="257722"/>
                  </a:xfrm>
                  <a:custGeom>
                    <a:avLst/>
                    <a:gdLst>
                      <a:gd name="connsiteX0" fmla="*/ 6070 w 1011439"/>
                      <a:gd name="connsiteY0" fmla="*/ 228652 h 257722"/>
                      <a:gd name="connsiteX1" fmla="*/ 3612 w 1011439"/>
                      <a:gd name="connsiteY1" fmla="*/ 251597 h 257722"/>
                      <a:gd name="connsiteX2" fmla="*/ 17285 w 1011439"/>
                      <a:gd name="connsiteY2" fmla="*/ 257642 h 257722"/>
                      <a:gd name="connsiteX3" fmla="*/ 779891 w 1011439"/>
                      <a:gd name="connsiteY3" fmla="*/ 199661 h 257722"/>
                      <a:gd name="connsiteX4" fmla="*/ 998580 w 1011439"/>
                      <a:gd name="connsiteY4" fmla="*/ 132373 h 257722"/>
                      <a:gd name="connsiteX5" fmla="*/ 1007271 w 1011439"/>
                      <a:gd name="connsiteY5" fmla="*/ 41365 h 257722"/>
                      <a:gd name="connsiteX6" fmla="*/ 397243 w 1011439"/>
                      <a:gd name="connsiteY6" fmla="*/ 15122 h 257722"/>
                      <a:gd name="connsiteX7" fmla="*/ 6070 w 1011439"/>
                      <a:gd name="connsiteY7" fmla="*/ 228652 h 2577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11439" h="257722">
                        <a:moveTo>
                          <a:pt x="6070" y="228652"/>
                        </a:moveTo>
                        <a:cubicBezTo>
                          <a:pt x="-945" y="234309"/>
                          <a:pt x="-2045" y="244582"/>
                          <a:pt x="3612" y="251597"/>
                        </a:cubicBezTo>
                        <a:cubicBezTo>
                          <a:pt x="6924" y="255704"/>
                          <a:pt x="12018" y="257956"/>
                          <a:pt x="17285" y="257642"/>
                        </a:cubicBezTo>
                        <a:cubicBezTo>
                          <a:pt x="187694" y="246427"/>
                          <a:pt x="728472" y="209979"/>
                          <a:pt x="779891" y="199661"/>
                        </a:cubicBezTo>
                        <a:cubicBezTo>
                          <a:pt x="841236" y="187381"/>
                          <a:pt x="976150" y="175157"/>
                          <a:pt x="998580" y="132373"/>
                        </a:cubicBezTo>
                        <a:cubicBezTo>
                          <a:pt x="1021009" y="89588"/>
                          <a:pt x="1007271" y="41365"/>
                          <a:pt x="1007271" y="41365"/>
                        </a:cubicBezTo>
                        <a:cubicBezTo>
                          <a:pt x="1007271" y="41365"/>
                          <a:pt x="600959" y="-30522"/>
                          <a:pt x="397243" y="15122"/>
                        </a:cubicBezTo>
                        <a:cubicBezTo>
                          <a:pt x="237320" y="50785"/>
                          <a:pt x="81322" y="168036"/>
                          <a:pt x="6070" y="228652"/>
                        </a:cubicBezTo>
                        <a:close/>
                      </a:path>
                    </a:pathLst>
                  </a:custGeom>
                  <a:solidFill>
                    <a:schemeClr val="bg2">
                      <a:alpha val="64000"/>
                    </a:schemeClr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8F4B4BE2-95AA-4066-AFD7-9E4258C8D344}"/>
                      </a:ext>
                    </a:extLst>
                  </p:cNvPr>
                  <p:cNvSpPr/>
                  <p:nvPr/>
                </p:nvSpPr>
                <p:spPr>
                  <a:xfrm>
                    <a:off x="2531359" y="4582625"/>
                    <a:ext cx="415115" cy="129719"/>
                  </a:xfrm>
                  <a:custGeom>
                    <a:avLst/>
                    <a:gdLst>
                      <a:gd name="connsiteX0" fmla="*/ -4 w 415115"/>
                      <a:gd name="connsiteY0" fmla="*/ 128961 h 129719"/>
                      <a:gd name="connsiteX1" fmla="*/ 181956 w 415115"/>
                      <a:gd name="connsiteY1" fmla="*/ 4196 h 129719"/>
                      <a:gd name="connsiteX2" fmla="*/ 415112 w 415115"/>
                      <a:gd name="connsiteY2" fmla="*/ 2177 h 129719"/>
                      <a:gd name="connsiteX3" fmla="*/ 321019 w 415115"/>
                      <a:gd name="connsiteY3" fmla="*/ 59429 h 129719"/>
                      <a:gd name="connsiteX4" fmla="*/ -4 w 415115"/>
                      <a:gd name="connsiteY4" fmla="*/ 128961 h 129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5115" h="129719">
                        <a:moveTo>
                          <a:pt x="-4" y="128961"/>
                        </a:moveTo>
                        <a:cubicBezTo>
                          <a:pt x="-4" y="128961"/>
                          <a:pt x="149265" y="12383"/>
                          <a:pt x="181956" y="4196"/>
                        </a:cubicBezTo>
                        <a:cubicBezTo>
                          <a:pt x="214647" y="-3991"/>
                          <a:pt x="415112" y="2177"/>
                          <a:pt x="415112" y="2177"/>
                        </a:cubicBezTo>
                        <a:cubicBezTo>
                          <a:pt x="415112" y="2177"/>
                          <a:pt x="355785" y="47037"/>
                          <a:pt x="321019" y="59429"/>
                        </a:cubicBezTo>
                        <a:cubicBezTo>
                          <a:pt x="286254" y="71821"/>
                          <a:pt x="46986" y="137148"/>
                          <a:pt x="-4" y="128961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1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A99D7F1B-1C34-4F0D-8648-3AAA5F0DB18C}"/>
                      </a:ext>
                    </a:extLst>
                  </p:cNvPr>
                  <p:cNvSpPr/>
                  <p:nvPr/>
                </p:nvSpPr>
                <p:spPr>
                  <a:xfrm>
                    <a:off x="2819635" y="4768047"/>
                    <a:ext cx="332182" cy="332182"/>
                  </a:xfrm>
                  <a:custGeom>
                    <a:avLst/>
                    <a:gdLst>
                      <a:gd name="connsiteX0" fmla="*/ 332182 w 332182"/>
                      <a:gd name="connsiteY0" fmla="*/ 166091 h 332182"/>
                      <a:gd name="connsiteX1" fmla="*/ 166091 w 332182"/>
                      <a:gd name="connsiteY1" fmla="*/ 332182 h 332182"/>
                      <a:gd name="connsiteX2" fmla="*/ 0 w 332182"/>
                      <a:gd name="connsiteY2" fmla="*/ 166091 h 332182"/>
                      <a:gd name="connsiteX3" fmla="*/ 166091 w 332182"/>
                      <a:gd name="connsiteY3" fmla="*/ 0 h 332182"/>
                      <a:gd name="connsiteX4" fmla="*/ 332182 w 332182"/>
                      <a:gd name="connsiteY4" fmla="*/ 166091 h 332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2182" h="332182">
                        <a:moveTo>
                          <a:pt x="332182" y="166091"/>
                        </a:moveTo>
                        <a:cubicBezTo>
                          <a:pt x="332182" y="257821"/>
                          <a:pt x="257821" y="332182"/>
                          <a:pt x="166091" y="332182"/>
                        </a:cubicBezTo>
                        <a:cubicBezTo>
                          <a:pt x="74362" y="332182"/>
                          <a:pt x="0" y="257821"/>
                          <a:pt x="0" y="166091"/>
                        </a:cubicBezTo>
                        <a:cubicBezTo>
                          <a:pt x="0" y="74362"/>
                          <a:pt x="74362" y="0"/>
                          <a:pt x="166091" y="0"/>
                        </a:cubicBezTo>
                        <a:cubicBezTo>
                          <a:pt x="257821" y="0"/>
                          <a:pt x="332182" y="74362"/>
                          <a:pt x="332182" y="166091"/>
                        </a:cubicBezTo>
                        <a:close/>
                      </a:path>
                    </a:pathLst>
                  </a:custGeom>
                  <a:solidFill>
                    <a:srgbClr val="606161"/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2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F9A7C11E-4F08-44E4-BE4F-9237BD361197}"/>
                      </a:ext>
                    </a:extLst>
                  </p:cNvPr>
                  <p:cNvSpPr/>
                  <p:nvPr/>
                </p:nvSpPr>
                <p:spPr>
                  <a:xfrm>
                    <a:off x="2819635" y="4768047"/>
                    <a:ext cx="332182" cy="332182"/>
                  </a:xfrm>
                  <a:custGeom>
                    <a:avLst/>
                    <a:gdLst>
                      <a:gd name="connsiteX0" fmla="*/ 332182 w 332182"/>
                      <a:gd name="connsiteY0" fmla="*/ 166091 h 332182"/>
                      <a:gd name="connsiteX1" fmla="*/ 166091 w 332182"/>
                      <a:gd name="connsiteY1" fmla="*/ 332182 h 332182"/>
                      <a:gd name="connsiteX2" fmla="*/ 0 w 332182"/>
                      <a:gd name="connsiteY2" fmla="*/ 166091 h 332182"/>
                      <a:gd name="connsiteX3" fmla="*/ 166091 w 332182"/>
                      <a:gd name="connsiteY3" fmla="*/ 0 h 332182"/>
                      <a:gd name="connsiteX4" fmla="*/ 332182 w 332182"/>
                      <a:gd name="connsiteY4" fmla="*/ 166091 h 332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2182" h="332182">
                        <a:moveTo>
                          <a:pt x="332182" y="166091"/>
                        </a:moveTo>
                        <a:cubicBezTo>
                          <a:pt x="332182" y="257821"/>
                          <a:pt x="257821" y="332182"/>
                          <a:pt x="166091" y="332182"/>
                        </a:cubicBezTo>
                        <a:cubicBezTo>
                          <a:pt x="74362" y="332182"/>
                          <a:pt x="0" y="257821"/>
                          <a:pt x="0" y="166091"/>
                        </a:cubicBezTo>
                        <a:cubicBezTo>
                          <a:pt x="0" y="74362"/>
                          <a:pt x="74362" y="0"/>
                          <a:pt x="166091" y="0"/>
                        </a:cubicBezTo>
                        <a:cubicBezTo>
                          <a:pt x="257821" y="0"/>
                          <a:pt x="332182" y="74362"/>
                          <a:pt x="332182" y="166091"/>
                        </a:cubicBezTo>
                        <a:close/>
                      </a:path>
                    </a:pathLst>
                  </a:custGeom>
                  <a:solidFill>
                    <a:srgbClr val="010101"/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3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CA2B07D5-151D-4BE5-8C60-C1E2E55AB40D}"/>
                      </a:ext>
                    </a:extLst>
                  </p:cNvPr>
                  <p:cNvSpPr/>
                  <p:nvPr/>
                </p:nvSpPr>
                <p:spPr>
                  <a:xfrm>
                    <a:off x="2868756" y="4817336"/>
                    <a:ext cx="237865" cy="237865"/>
                  </a:xfrm>
                  <a:custGeom>
                    <a:avLst/>
                    <a:gdLst>
                      <a:gd name="connsiteX0" fmla="*/ 237866 w 237865"/>
                      <a:gd name="connsiteY0" fmla="*/ 118933 h 237865"/>
                      <a:gd name="connsiteX1" fmla="*/ 118933 w 237865"/>
                      <a:gd name="connsiteY1" fmla="*/ 237866 h 237865"/>
                      <a:gd name="connsiteX2" fmla="*/ 0 w 237865"/>
                      <a:gd name="connsiteY2" fmla="*/ 118933 h 237865"/>
                      <a:gd name="connsiteX3" fmla="*/ 118933 w 237865"/>
                      <a:gd name="connsiteY3" fmla="*/ 0 h 237865"/>
                      <a:gd name="connsiteX4" fmla="*/ 237866 w 237865"/>
                      <a:gd name="connsiteY4" fmla="*/ 118933 h 2378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7865" h="237865">
                        <a:moveTo>
                          <a:pt x="237866" y="118933"/>
                        </a:moveTo>
                        <a:cubicBezTo>
                          <a:pt x="237866" y="184618"/>
                          <a:pt x="184618" y="237866"/>
                          <a:pt x="118933" y="237866"/>
                        </a:cubicBezTo>
                        <a:cubicBezTo>
                          <a:pt x="53248" y="237866"/>
                          <a:pt x="0" y="184618"/>
                          <a:pt x="0" y="118933"/>
                        </a:cubicBezTo>
                        <a:cubicBezTo>
                          <a:pt x="0" y="53248"/>
                          <a:pt x="53248" y="0"/>
                          <a:pt x="118933" y="0"/>
                        </a:cubicBezTo>
                        <a:cubicBezTo>
                          <a:pt x="184618" y="0"/>
                          <a:pt x="237866" y="53248"/>
                          <a:pt x="237866" y="118933"/>
                        </a:cubicBezTo>
                        <a:close/>
                      </a:path>
                    </a:pathLst>
                  </a:custGeom>
                  <a:solidFill>
                    <a:srgbClr val="0B274F"/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4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95B07A64-405C-4001-A604-CF9D884521F5}"/>
                      </a:ext>
                    </a:extLst>
                  </p:cNvPr>
                  <p:cNvSpPr/>
                  <p:nvPr/>
                </p:nvSpPr>
                <p:spPr>
                  <a:xfrm>
                    <a:off x="4099860" y="4730085"/>
                    <a:ext cx="312892" cy="312892"/>
                  </a:xfrm>
                  <a:custGeom>
                    <a:avLst/>
                    <a:gdLst>
                      <a:gd name="connsiteX0" fmla="*/ 312893 w 312892"/>
                      <a:gd name="connsiteY0" fmla="*/ 156446 h 312892"/>
                      <a:gd name="connsiteX1" fmla="*/ 156446 w 312892"/>
                      <a:gd name="connsiteY1" fmla="*/ 312893 h 312892"/>
                      <a:gd name="connsiteX2" fmla="*/ 0 w 312892"/>
                      <a:gd name="connsiteY2" fmla="*/ 156446 h 312892"/>
                      <a:gd name="connsiteX3" fmla="*/ 156446 w 312892"/>
                      <a:gd name="connsiteY3" fmla="*/ 0 h 312892"/>
                      <a:gd name="connsiteX4" fmla="*/ 312893 w 312892"/>
                      <a:gd name="connsiteY4" fmla="*/ 156446 h 312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2892" h="312892">
                        <a:moveTo>
                          <a:pt x="312893" y="156446"/>
                        </a:moveTo>
                        <a:cubicBezTo>
                          <a:pt x="312893" y="242849"/>
                          <a:pt x="242849" y="312893"/>
                          <a:pt x="156446" y="312893"/>
                        </a:cubicBezTo>
                        <a:cubicBezTo>
                          <a:pt x="70043" y="312893"/>
                          <a:pt x="0" y="242849"/>
                          <a:pt x="0" y="156446"/>
                        </a:cubicBezTo>
                        <a:cubicBezTo>
                          <a:pt x="0" y="70043"/>
                          <a:pt x="70043" y="0"/>
                          <a:pt x="156446" y="0"/>
                        </a:cubicBezTo>
                        <a:cubicBezTo>
                          <a:pt x="242849" y="0"/>
                          <a:pt x="312893" y="70043"/>
                          <a:pt x="312893" y="156446"/>
                        </a:cubicBezTo>
                        <a:close/>
                      </a:path>
                    </a:pathLst>
                  </a:custGeom>
                  <a:solidFill>
                    <a:srgbClr val="606161"/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5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674FE274-DF8C-457C-A957-30731B9FA153}"/>
                      </a:ext>
                    </a:extLst>
                  </p:cNvPr>
                  <p:cNvSpPr/>
                  <p:nvPr/>
                </p:nvSpPr>
                <p:spPr>
                  <a:xfrm>
                    <a:off x="4099860" y="4730085"/>
                    <a:ext cx="312892" cy="312892"/>
                  </a:xfrm>
                  <a:custGeom>
                    <a:avLst/>
                    <a:gdLst>
                      <a:gd name="connsiteX0" fmla="*/ 312893 w 312892"/>
                      <a:gd name="connsiteY0" fmla="*/ 156446 h 312892"/>
                      <a:gd name="connsiteX1" fmla="*/ 156446 w 312892"/>
                      <a:gd name="connsiteY1" fmla="*/ 312893 h 312892"/>
                      <a:gd name="connsiteX2" fmla="*/ 0 w 312892"/>
                      <a:gd name="connsiteY2" fmla="*/ 156446 h 312892"/>
                      <a:gd name="connsiteX3" fmla="*/ 156446 w 312892"/>
                      <a:gd name="connsiteY3" fmla="*/ 0 h 312892"/>
                      <a:gd name="connsiteX4" fmla="*/ 312893 w 312892"/>
                      <a:gd name="connsiteY4" fmla="*/ 156446 h 312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2892" h="312892">
                        <a:moveTo>
                          <a:pt x="312893" y="156446"/>
                        </a:moveTo>
                        <a:cubicBezTo>
                          <a:pt x="312893" y="242849"/>
                          <a:pt x="242849" y="312893"/>
                          <a:pt x="156446" y="312893"/>
                        </a:cubicBezTo>
                        <a:cubicBezTo>
                          <a:pt x="70043" y="312893"/>
                          <a:pt x="0" y="242849"/>
                          <a:pt x="0" y="156446"/>
                        </a:cubicBezTo>
                        <a:cubicBezTo>
                          <a:pt x="0" y="70043"/>
                          <a:pt x="70043" y="0"/>
                          <a:pt x="156446" y="0"/>
                        </a:cubicBezTo>
                        <a:cubicBezTo>
                          <a:pt x="242849" y="0"/>
                          <a:pt x="312893" y="70043"/>
                          <a:pt x="312893" y="156446"/>
                        </a:cubicBezTo>
                        <a:close/>
                      </a:path>
                    </a:pathLst>
                  </a:custGeom>
                  <a:solidFill>
                    <a:srgbClr val="010101"/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6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547FA96A-6D82-40FE-BEE2-BF719248BE4A}"/>
                      </a:ext>
                    </a:extLst>
                  </p:cNvPr>
                  <p:cNvSpPr/>
                  <p:nvPr/>
                </p:nvSpPr>
                <p:spPr>
                  <a:xfrm>
                    <a:off x="4146065" y="4776515"/>
                    <a:ext cx="224071" cy="224071"/>
                  </a:xfrm>
                  <a:custGeom>
                    <a:avLst/>
                    <a:gdLst>
                      <a:gd name="connsiteX0" fmla="*/ 224072 w 224071"/>
                      <a:gd name="connsiteY0" fmla="*/ 112036 h 224071"/>
                      <a:gd name="connsiteX1" fmla="*/ 112036 w 224071"/>
                      <a:gd name="connsiteY1" fmla="*/ 224072 h 224071"/>
                      <a:gd name="connsiteX2" fmla="*/ 0 w 224071"/>
                      <a:gd name="connsiteY2" fmla="*/ 112036 h 224071"/>
                      <a:gd name="connsiteX3" fmla="*/ 112036 w 224071"/>
                      <a:gd name="connsiteY3" fmla="*/ 0 h 224071"/>
                      <a:gd name="connsiteX4" fmla="*/ 224072 w 224071"/>
                      <a:gd name="connsiteY4" fmla="*/ 112036 h 2240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4071" h="224071">
                        <a:moveTo>
                          <a:pt x="224072" y="112036"/>
                        </a:moveTo>
                        <a:cubicBezTo>
                          <a:pt x="224072" y="173911"/>
                          <a:pt x="173911" y="224072"/>
                          <a:pt x="112036" y="224072"/>
                        </a:cubicBezTo>
                        <a:cubicBezTo>
                          <a:pt x="50160" y="224072"/>
                          <a:pt x="0" y="173912"/>
                          <a:pt x="0" y="112036"/>
                        </a:cubicBezTo>
                        <a:cubicBezTo>
                          <a:pt x="0" y="50160"/>
                          <a:pt x="50160" y="0"/>
                          <a:pt x="112036" y="0"/>
                        </a:cubicBezTo>
                        <a:cubicBezTo>
                          <a:pt x="173912" y="0"/>
                          <a:pt x="224072" y="50160"/>
                          <a:pt x="224072" y="112036"/>
                        </a:cubicBezTo>
                        <a:close/>
                      </a:path>
                    </a:pathLst>
                  </a:custGeom>
                  <a:solidFill>
                    <a:srgbClr val="0B274F"/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7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F75BDB70-F0F0-41D2-A365-EDC4178F27ED}"/>
                      </a:ext>
                    </a:extLst>
                  </p:cNvPr>
                  <p:cNvSpPr/>
                  <p:nvPr/>
                </p:nvSpPr>
                <p:spPr>
                  <a:xfrm>
                    <a:off x="2889391" y="4840159"/>
                    <a:ext cx="197492" cy="197492"/>
                  </a:xfrm>
                  <a:custGeom>
                    <a:avLst/>
                    <a:gdLst>
                      <a:gd name="connsiteX0" fmla="*/ 197493 w 197492"/>
                      <a:gd name="connsiteY0" fmla="*/ 98746 h 197492"/>
                      <a:gd name="connsiteX1" fmla="*/ 98746 w 197492"/>
                      <a:gd name="connsiteY1" fmla="*/ 197493 h 197492"/>
                      <a:gd name="connsiteX2" fmla="*/ 0 w 197492"/>
                      <a:gd name="connsiteY2" fmla="*/ 98746 h 197492"/>
                      <a:gd name="connsiteX3" fmla="*/ 98746 w 197492"/>
                      <a:gd name="connsiteY3" fmla="*/ 0 h 197492"/>
                      <a:gd name="connsiteX4" fmla="*/ 197493 w 197492"/>
                      <a:gd name="connsiteY4" fmla="*/ 98746 h 1974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7492" h="197492">
                        <a:moveTo>
                          <a:pt x="197493" y="98746"/>
                        </a:moveTo>
                        <a:cubicBezTo>
                          <a:pt x="197493" y="153282"/>
                          <a:pt x="153282" y="197493"/>
                          <a:pt x="98746" y="197493"/>
                        </a:cubicBezTo>
                        <a:cubicBezTo>
                          <a:pt x="44210" y="197493"/>
                          <a:pt x="0" y="153282"/>
                          <a:pt x="0" y="98746"/>
                        </a:cubicBezTo>
                        <a:cubicBezTo>
                          <a:pt x="0" y="44210"/>
                          <a:pt x="44210" y="0"/>
                          <a:pt x="98746" y="0"/>
                        </a:cubicBezTo>
                        <a:cubicBezTo>
                          <a:pt x="153282" y="0"/>
                          <a:pt x="197493" y="44210"/>
                          <a:pt x="197493" y="98746"/>
                        </a:cubicBezTo>
                        <a:close/>
                      </a:path>
                    </a:pathLst>
                  </a:custGeom>
                  <a:solidFill>
                    <a:srgbClr val="010101"/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8" name="Graphic 246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E5DF3697-C2A5-4F54-A593-2FDD0EB472FB}"/>
                      </a:ext>
                    </a:extLst>
                  </p:cNvPr>
                  <p:cNvSpPr/>
                  <p:nvPr/>
                </p:nvSpPr>
                <p:spPr>
                  <a:xfrm>
                    <a:off x="4169056" y="4798440"/>
                    <a:ext cx="179100" cy="179100"/>
                  </a:xfrm>
                  <a:custGeom>
                    <a:avLst/>
                    <a:gdLst>
                      <a:gd name="connsiteX0" fmla="*/ 179100 w 179100"/>
                      <a:gd name="connsiteY0" fmla="*/ 89550 h 179100"/>
                      <a:gd name="connsiteX1" fmla="*/ 89550 w 179100"/>
                      <a:gd name="connsiteY1" fmla="*/ 179100 h 179100"/>
                      <a:gd name="connsiteX2" fmla="*/ 0 w 179100"/>
                      <a:gd name="connsiteY2" fmla="*/ 89550 h 179100"/>
                      <a:gd name="connsiteX3" fmla="*/ 89550 w 179100"/>
                      <a:gd name="connsiteY3" fmla="*/ 0 h 179100"/>
                      <a:gd name="connsiteX4" fmla="*/ 179100 w 179100"/>
                      <a:gd name="connsiteY4" fmla="*/ 89550 h 1791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9100" h="179100">
                        <a:moveTo>
                          <a:pt x="179100" y="89550"/>
                        </a:moveTo>
                        <a:cubicBezTo>
                          <a:pt x="179100" y="139007"/>
                          <a:pt x="139007" y="179100"/>
                          <a:pt x="89550" y="179100"/>
                        </a:cubicBezTo>
                        <a:cubicBezTo>
                          <a:pt x="40093" y="179100"/>
                          <a:pt x="0" y="139007"/>
                          <a:pt x="0" y="89550"/>
                        </a:cubicBezTo>
                        <a:cubicBezTo>
                          <a:pt x="0" y="40093"/>
                          <a:pt x="40093" y="0"/>
                          <a:pt x="89550" y="0"/>
                        </a:cubicBezTo>
                        <a:cubicBezTo>
                          <a:pt x="139008" y="0"/>
                          <a:pt x="179100" y="40093"/>
                          <a:pt x="179100" y="89550"/>
                        </a:cubicBezTo>
                        <a:close/>
                      </a:path>
                    </a:pathLst>
                  </a:custGeom>
                  <a:solidFill>
                    <a:srgbClr val="010101"/>
                  </a:solidFill>
                  <a:ln w="560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9E345141-21E2-46F2-A864-3DB70C9192C1}"/>
                  </a:ext>
                </a:extLst>
              </p:cNvPr>
              <p:cNvGrpSpPr/>
              <p:nvPr/>
            </p:nvGrpSpPr>
            <p:grpSpPr>
              <a:xfrm>
                <a:off x="753415" y="3211329"/>
                <a:ext cx="1706307" cy="1359845"/>
                <a:chOff x="3050764" y="936418"/>
                <a:chExt cx="2960979" cy="2237420"/>
              </a:xfrm>
            </p:grpSpPr>
            <p:sp>
              <p:nvSpPr>
                <p:cNvPr id="129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4EF96423-BD22-4416-9BEF-54F793C32091}"/>
                    </a:ext>
                  </a:extLst>
                </p:cNvPr>
                <p:cNvSpPr/>
                <p:nvPr/>
              </p:nvSpPr>
              <p:spPr>
                <a:xfrm>
                  <a:off x="3050764" y="2652233"/>
                  <a:ext cx="2960979" cy="521605"/>
                </a:xfrm>
                <a:custGeom>
                  <a:avLst/>
                  <a:gdLst>
                    <a:gd name="connsiteX0" fmla="*/ 56488 w 2960979"/>
                    <a:gd name="connsiteY0" fmla="*/ 190006 h 521605"/>
                    <a:gd name="connsiteX1" fmla="*/ -1 w 2960979"/>
                    <a:gd name="connsiteY1" fmla="*/ 289615 h 521605"/>
                    <a:gd name="connsiteX2" fmla="*/ 181517 w 2960979"/>
                    <a:gd name="connsiteY2" fmla="*/ 428390 h 521605"/>
                    <a:gd name="connsiteX3" fmla="*/ 560464 w 2960979"/>
                    <a:gd name="connsiteY3" fmla="*/ 474522 h 521605"/>
                    <a:gd name="connsiteX4" fmla="*/ 2061094 w 2960979"/>
                    <a:gd name="connsiteY4" fmla="*/ 518866 h 521605"/>
                    <a:gd name="connsiteX5" fmla="*/ 2672398 w 2960979"/>
                    <a:gd name="connsiteY5" fmla="*/ 496741 h 521605"/>
                    <a:gd name="connsiteX6" fmla="*/ 2858812 w 2960979"/>
                    <a:gd name="connsiteY6" fmla="*/ 418033 h 521605"/>
                    <a:gd name="connsiteX7" fmla="*/ 2878207 w 2960979"/>
                    <a:gd name="connsiteY7" fmla="*/ 228136 h 521605"/>
                    <a:gd name="connsiteX8" fmla="*/ 2958044 w 2960979"/>
                    <a:gd name="connsiteY8" fmla="*/ 142649 h 521605"/>
                    <a:gd name="connsiteX9" fmla="*/ 2877171 w 2960979"/>
                    <a:gd name="connsiteY9" fmla="*/ 44641 h 521605"/>
                    <a:gd name="connsiteX10" fmla="*/ 2701208 w 2960979"/>
                    <a:gd name="connsiteY10" fmla="*/ 24964 h 521605"/>
                    <a:gd name="connsiteX11" fmla="*/ 1398195 w 2960979"/>
                    <a:gd name="connsiteY11" fmla="*/ 15549 h 521605"/>
                    <a:gd name="connsiteX12" fmla="*/ 525629 w 2960979"/>
                    <a:gd name="connsiteY12" fmla="*/ 10465 h 521605"/>
                    <a:gd name="connsiteX13" fmla="*/ 160240 w 2960979"/>
                    <a:gd name="connsiteY13" fmla="*/ 19033 h 521605"/>
                    <a:gd name="connsiteX14" fmla="*/ 56488 w 2960979"/>
                    <a:gd name="connsiteY14" fmla="*/ 190006 h 5216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60979" h="521605">
                      <a:moveTo>
                        <a:pt x="56488" y="190006"/>
                      </a:moveTo>
                      <a:cubicBezTo>
                        <a:pt x="28244" y="220698"/>
                        <a:pt x="-1" y="253556"/>
                        <a:pt x="-1" y="289615"/>
                      </a:cubicBezTo>
                      <a:cubicBezTo>
                        <a:pt x="-566" y="355519"/>
                        <a:pt x="91041" y="404099"/>
                        <a:pt x="181517" y="428390"/>
                      </a:cubicBezTo>
                      <a:cubicBezTo>
                        <a:pt x="301274" y="460494"/>
                        <a:pt x="431858" y="468214"/>
                        <a:pt x="560464" y="474522"/>
                      </a:cubicBezTo>
                      <a:cubicBezTo>
                        <a:pt x="1059450" y="499283"/>
                        <a:pt x="1560507" y="509075"/>
                        <a:pt x="2061094" y="518866"/>
                      </a:cubicBezTo>
                      <a:cubicBezTo>
                        <a:pt x="2265678" y="522914"/>
                        <a:pt x="2472710" y="526680"/>
                        <a:pt x="2672398" y="496741"/>
                      </a:cubicBezTo>
                      <a:cubicBezTo>
                        <a:pt x="2746775" y="485538"/>
                        <a:pt x="2828025" y="465013"/>
                        <a:pt x="2858812" y="418033"/>
                      </a:cubicBezTo>
                      <a:cubicBezTo>
                        <a:pt x="2897224" y="359285"/>
                        <a:pt x="2838099" y="286226"/>
                        <a:pt x="2878207" y="228136"/>
                      </a:cubicBezTo>
                      <a:cubicBezTo>
                        <a:pt x="2899390" y="197444"/>
                        <a:pt x="2945711" y="175507"/>
                        <a:pt x="2958044" y="142649"/>
                      </a:cubicBezTo>
                      <a:cubicBezTo>
                        <a:pt x="2972637" y="103484"/>
                        <a:pt x="2930741" y="62718"/>
                        <a:pt x="2877171" y="44641"/>
                      </a:cubicBezTo>
                      <a:cubicBezTo>
                        <a:pt x="2823600" y="26565"/>
                        <a:pt x="2761180" y="25811"/>
                        <a:pt x="2701208" y="24964"/>
                      </a:cubicBezTo>
                      <a:cubicBezTo>
                        <a:pt x="2266930" y="20756"/>
                        <a:pt x="1832596" y="17621"/>
                        <a:pt x="1398195" y="15549"/>
                      </a:cubicBezTo>
                      <a:lnTo>
                        <a:pt x="525629" y="10465"/>
                      </a:lnTo>
                      <a:cubicBezTo>
                        <a:pt x="435247" y="9995"/>
                        <a:pt x="237441" y="-17779"/>
                        <a:pt x="160240" y="19033"/>
                      </a:cubicBezTo>
                      <a:cubicBezTo>
                        <a:pt x="97066" y="48784"/>
                        <a:pt x="99514" y="142932"/>
                        <a:pt x="56488" y="190006"/>
                      </a:cubicBezTo>
                      <a:close/>
                    </a:path>
                  </a:pathLst>
                </a:custGeom>
                <a:solidFill>
                  <a:srgbClr val="0B274F">
                    <a:alpha val="40000"/>
                  </a:srgbClr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0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A3E437FC-DC91-4614-80D8-2963529A0324}"/>
                    </a:ext>
                  </a:extLst>
                </p:cNvPr>
                <p:cNvSpPr/>
                <p:nvPr/>
              </p:nvSpPr>
              <p:spPr>
                <a:xfrm>
                  <a:off x="3235674" y="1606659"/>
                  <a:ext cx="286116" cy="169466"/>
                </a:xfrm>
                <a:custGeom>
                  <a:avLst/>
                  <a:gdLst>
                    <a:gd name="connsiteX0" fmla="*/ 84730 w 286116"/>
                    <a:gd name="connsiteY0" fmla="*/ 169445 h 169466"/>
                    <a:gd name="connsiteX1" fmla="*/ 286113 w 286116"/>
                    <a:gd name="connsiteY1" fmla="*/ 169445 h 169466"/>
                    <a:gd name="connsiteX2" fmla="*/ 286113 w 286116"/>
                    <a:gd name="connsiteY2" fmla="*/ -22 h 169466"/>
                    <a:gd name="connsiteX3" fmla="*/ 84730 w 286116"/>
                    <a:gd name="connsiteY3" fmla="*/ -22 h 169466"/>
                    <a:gd name="connsiteX4" fmla="*/ -3 w 286116"/>
                    <a:gd name="connsiteY4" fmla="*/ 84711 h 169466"/>
                    <a:gd name="connsiteX5" fmla="*/ -3 w 286116"/>
                    <a:gd name="connsiteY5" fmla="*/ 84711 h 169466"/>
                    <a:gd name="connsiteX6" fmla="*/ 84730 w 286116"/>
                    <a:gd name="connsiteY6" fmla="*/ 169445 h 169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6116" h="169466">
                      <a:moveTo>
                        <a:pt x="84730" y="169445"/>
                      </a:moveTo>
                      <a:lnTo>
                        <a:pt x="286113" y="169445"/>
                      </a:lnTo>
                      <a:lnTo>
                        <a:pt x="286113" y="-22"/>
                      </a:lnTo>
                      <a:lnTo>
                        <a:pt x="84730" y="-22"/>
                      </a:lnTo>
                      <a:cubicBezTo>
                        <a:pt x="37933" y="-22"/>
                        <a:pt x="-3" y="37910"/>
                        <a:pt x="-3" y="84711"/>
                      </a:cubicBezTo>
                      <a:lnTo>
                        <a:pt x="-3" y="84711"/>
                      </a:lnTo>
                      <a:cubicBezTo>
                        <a:pt x="-3" y="131513"/>
                        <a:pt x="37933" y="169445"/>
                        <a:pt x="84730" y="169445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1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04AC6844-2F91-4CDD-8943-1F1833DFFF96}"/>
                    </a:ext>
                  </a:extLst>
                </p:cNvPr>
                <p:cNvSpPr/>
                <p:nvPr/>
              </p:nvSpPr>
              <p:spPr>
                <a:xfrm>
                  <a:off x="5494385" y="1606659"/>
                  <a:ext cx="286116" cy="169466"/>
                </a:xfrm>
                <a:custGeom>
                  <a:avLst/>
                  <a:gdLst>
                    <a:gd name="connsiteX0" fmla="*/ 201380 w 286116"/>
                    <a:gd name="connsiteY0" fmla="*/ 169445 h 169466"/>
                    <a:gd name="connsiteX1" fmla="*/ -3 w 286116"/>
                    <a:gd name="connsiteY1" fmla="*/ 169445 h 169466"/>
                    <a:gd name="connsiteX2" fmla="*/ -3 w 286116"/>
                    <a:gd name="connsiteY2" fmla="*/ -22 h 169466"/>
                    <a:gd name="connsiteX3" fmla="*/ 201380 w 286116"/>
                    <a:gd name="connsiteY3" fmla="*/ -22 h 169466"/>
                    <a:gd name="connsiteX4" fmla="*/ 286113 w 286116"/>
                    <a:gd name="connsiteY4" fmla="*/ 84711 h 169466"/>
                    <a:gd name="connsiteX5" fmla="*/ 286113 w 286116"/>
                    <a:gd name="connsiteY5" fmla="*/ 84711 h 169466"/>
                    <a:gd name="connsiteX6" fmla="*/ 201380 w 286116"/>
                    <a:gd name="connsiteY6" fmla="*/ 169445 h 169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6116" h="169466">
                      <a:moveTo>
                        <a:pt x="201380" y="169445"/>
                      </a:moveTo>
                      <a:lnTo>
                        <a:pt x="-3" y="169445"/>
                      </a:lnTo>
                      <a:lnTo>
                        <a:pt x="-3" y="-22"/>
                      </a:lnTo>
                      <a:lnTo>
                        <a:pt x="201380" y="-22"/>
                      </a:lnTo>
                      <a:cubicBezTo>
                        <a:pt x="248181" y="-22"/>
                        <a:pt x="286113" y="37910"/>
                        <a:pt x="286113" y="84711"/>
                      </a:cubicBezTo>
                      <a:lnTo>
                        <a:pt x="286113" y="84711"/>
                      </a:lnTo>
                      <a:cubicBezTo>
                        <a:pt x="286113" y="131513"/>
                        <a:pt x="248181" y="169445"/>
                        <a:pt x="201380" y="169445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2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0C3B471E-0124-49A6-B9C2-BDC57D34796E}"/>
                    </a:ext>
                  </a:extLst>
                </p:cNvPr>
                <p:cNvSpPr/>
                <p:nvPr/>
              </p:nvSpPr>
              <p:spPr>
                <a:xfrm>
                  <a:off x="3235674" y="1606659"/>
                  <a:ext cx="286116" cy="169466"/>
                </a:xfrm>
                <a:custGeom>
                  <a:avLst/>
                  <a:gdLst>
                    <a:gd name="connsiteX0" fmla="*/ 84730 w 286116"/>
                    <a:gd name="connsiteY0" fmla="*/ 169445 h 169466"/>
                    <a:gd name="connsiteX1" fmla="*/ 286113 w 286116"/>
                    <a:gd name="connsiteY1" fmla="*/ 169445 h 169466"/>
                    <a:gd name="connsiteX2" fmla="*/ 286113 w 286116"/>
                    <a:gd name="connsiteY2" fmla="*/ -22 h 169466"/>
                    <a:gd name="connsiteX3" fmla="*/ 84730 w 286116"/>
                    <a:gd name="connsiteY3" fmla="*/ -22 h 169466"/>
                    <a:gd name="connsiteX4" fmla="*/ -3 w 286116"/>
                    <a:gd name="connsiteY4" fmla="*/ 84711 h 169466"/>
                    <a:gd name="connsiteX5" fmla="*/ -3 w 286116"/>
                    <a:gd name="connsiteY5" fmla="*/ 84711 h 169466"/>
                    <a:gd name="connsiteX6" fmla="*/ 84730 w 286116"/>
                    <a:gd name="connsiteY6" fmla="*/ 169445 h 169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6116" h="169466">
                      <a:moveTo>
                        <a:pt x="84730" y="169445"/>
                      </a:moveTo>
                      <a:lnTo>
                        <a:pt x="286113" y="169445"/>
                      </a:lnTo>
                      <a:lnTo>
                        <a:pt x="286113" y="-22"/>
                      </a:lnTo>
                      <a:lnTo>
                        <a:pt x="84730" y="-22"/>
                      </a:lnTo>
                      <a:cubicBezTo>
                        <a:pt x="37933" y="-22"/>
                        <a:pt x="-3" y="37910"/>
                        <a:pt x="-3" y="84711"/>
                      </a:cubicBezTo>
                      <a:lnTo>
                        <a:pt x="-3" y="84711"/>
                      </a:lnTo>
                      <a:cubicBezTo>
                        <a:pt x="-3" y="131513"/>
                        <a:pt x="37933" y="169445"/>
                        <a:pt x="84730" y="169445"/>
                      </a:cubicBezTo>
                      <a:close/>
                    </a:path>
                  </a:pathLst>
                </a:custGeom>
                <a:solidFill>
                  <a:srgbClr val="FFC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3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2435DDAB-55C8-47C6-9639-B25FAA275E03}"/>
                    </a:ext>
                  </a:extLst>
                </p:cNvPr>
                <p:cNvSpPr/>
                <p:nvPr/>
              </p:nvSpPr>
              <p:spPr>
                <a:xfrm>
                  <a:off x="5494385" y="1606659"/>
                  <a:ext cx="286116" cy="169466"/>
                </a:xfrm>
                <a:custGeom>
                  <a:avLst/>
                  <a:gdLst>
                    <a:gd name="connsiteX0" fmla="*/ 201380 w 286116"/>
                    <a:gd name="connsiteY0" fmla="*/ 169445 h 169466"/>
                    <a:gd name="connsiteX1" fmla="*/ -3 w 286116"/>
                    <a:gd name="connsiteY1" fmla="*/ 169445 h 169466"/>
                    <a:gd name="connsiteX2" fmla="*/ -3 w 286116"/>
                    <a:gd name="connsiteY2" fmla="*/ -22 h 169466"/>
                    <a:gd name="connsiteX3" fmla="*/ 201380 w 286116"/>
                    <a:gd name="connsiteY3" fmla="*/ -22 h 169466"/>
                    <a:gd name="connsiteX4" fmla="*/ 286113 w 286116"/>
                    <a:gd name="connsiteY4" fmla="*/ 84711 h 169466"/>
                    <a:gd name="connsiteX5" fmla="*/ 286113 w 286116"/>
                    <a:gd name="connsiteY5" fmla="*/ 84711 h 169466"/>
                    <a:gd name="connsiteX6" fmla="*/ 201380 w 286116"/>
                    <a:gd name="connsiteY6" fmla="*/ 169445 h 169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6116" h="169466">
                      <a:moveTo>
                        <a:pt x="201380" y="169445"/>
                      </a:moveTo>
                      <a:lnTo>
                        <a:pt x="-3" y="169445"/>
                      </a:lnTo>
                      <a:lnTo>
                        <a:pt x="-3" y="-22"/>
                      </a:lnTo>
                      <a:lnTo>
                        <a:pt x="201380" y="-22"/>
                      </a:lnTo>
                      <a:cubicBezTo>
                        <a:pt x="248181" y="-22"/>
                        <a:pt x="286113" y="37910"/>
                        <a:pt x="286113" y="84711"/>
                      </a:cubicBezTo>
                      <a:lnTo>
                        <a:pt x="286113" y="84711"/>
                      </a:lnTo>
                      <a:cubicBezTo>
                        <a:pt x="286113" y="131513"/>
                        <a:pt x="248181" y="169445"/>
                        <a:pt x="201380" y="169445"/>
                      </a:cubicBezTo>
                      <a:close/>
                    </a:path>
                  </a:pathLst>
                </a:custGeom>
                <a:solidFill>
                  <a:srgbClr val="FFC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4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F5720DEC-7B53-4AAB-9945-9F190BEF925D}"/>
                    </a:ext>
                  </a:extLst>
                </p:cNvPr>
                <p:cNvSpPr/>
                <p:nvPr/>
              </p:nvSpPr>
              <p:spPr>
                <a:xfrm>
                  <a:off x="3261847" y="1947853"/>
                  <a:ext cx="2500766" cy="634465"/>
                </a:xfrm>
                <a:custGeom>
                  <a:avLst/>
                  <a:gdLst>
                    <a:gd name="connsiteX0" fmla="*/ 65901 w 2500766"/>
                    <a:gd name="connsiteY0" fmla="*/ -22 h 634465"/>
                    <a:gd name="connsiteX1" fmla="*/ -3 w 2500766"/>
                    <a:gd name="connsiteY1" fmla="*/ 355294 h 634465"/>
                    <a:gd name="connsiteX2" fmla="*/ 552647 w 2500766"/>
                    <a:gd name="connsiteY2" fmla="*/ 631807 h 634465"/>
                    <a:gd name="connsiteX3" fmla="*/ 1890965 w 2500766"/>
                    <a:gd name="connsiteY3" fmla="*/ 634443 h 634465"/>
                    <a:gd name="connsiteX4" fmla="*/ 2500764 w 2500766"/>
                    <a:gd name="connsiteY4" fmla="*/ 355294 h 634465"/>
                    <a:gd name="connsiteX5" fmla="*/ 2500764 w 2500766"/>
                    <a:gd name="connsiteY5" fmla="*/ 355294 h 634465"/>
                    <a:gd name="connsiteX6" fmla="*/ 2434860 w 2500766"/>
                    <a:gd name="connsiteY6" fmla="*/ -22 h 6344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00766" h="634465">
                      <a:moveTo>
                        <a:pt x="65901" y="-22"/>
                      </a:moveTo>
                      <a:cubicBezTo>
                        <a:pt x="22271" y="113361"/>
                        <a:pt x="-71" y="233814"/>
                        <a:pt x="-3" y="355294"/>
                      </a:cubicBezTo>
                      <a:lnTo>
                        <a:pt x="552647" y="631807"/>
                      </a:lnTo>
                      <a:lnTo>
                        <a:pt x="1890965" y="634443"/>
                      </a:lnTo>
                      <a:lnTo>
                        <a:pt x="2500764" y="355294"/>
                      </a:lnTo>
                      <a:lnTo>
                        <a:pt x="2500764" y="355294"/>
                      </a:lnTo>
                      <a:cubicBezTo>
                        <a:pt x="2500782" y="233814"/>
                        <a:pt x="2478450" y="113370"/>
                        <a:pt x="2434860" y="-22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5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511CD57B-2774-442A-AB48-55A38836CBA0}"/>
                    </a:ext>
                  </a:extLst>
                </p:cNvPr>
                <p:cNvSpPr/>
                <p:nvPr/>
              </p:nvSpPr>
              <p:spPr>
                <a:xfrm>
                  <a:off x="3261847" y="1947853"/>
                  <a:ext cx="2500766" cy="634465"/>
                </a:xfrm>
                <a:custGeom>
                  <a:avLst/>
                  <a:gdLst>
                    <a:gd name="connsiteX0" fmla="*/ 65901 w 2500766"/>
                    <a:gd name="connsiteY0" fmla="*/ -22 h 634465"/>
                    <a:gd name="connsiteX1" fmla="*/ -3 w 2500766"/>
                    <a:gd name="connsiteY1" fmla="*/ 355294 h 634465"/>
                    <a:gd name="connsiteX2" fmla="*/ 552647 w 2500766"/>
                    <a:gd name="connsiteY2" fmla="*/ 631807 h 634465"/>
                    <a:gd name="connsiteX3" fmla="*/ 1890965 w 2500766"/>
                    <a:gd name="connsiteY3" fmla="*/ 634443 h 634465"/>
                    <a:gd name="connsiteX4" fmla="*/ 2500764 w 2500766"/>
                    <a:gd name="connsiteY4" fmla="*/ 355294 h 634465"/>
                    <a:gd name="connsiteX5" fmla="*/ 2500764 w 2500766"/>
                    <a:gd name="connsiteY5" fmla="*/ 355294 h 634465"/>
                    <a:gd name="connsiteX6" fmla="*/ 2434860 w 2500766"/>
                    <a:gd name="connsiteY6" fmla="*/ -22 h 6344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00766" h="634465">
                      <a:moveTo>
                        <a:pt x="65901" y="-22"/>
                      </a:moveTo>
                      <a:cubicBezTo>
                        <a:pt x="22271" y="113361"/>
                        <a:pt x="-71" y="233814"/>
                        <a:pt x="-3" y="355294"/>
                      </a:cubicBezTo>
                      <a:lnTo>
                        <a:pt x="552647" y="631807"/>
                      </a:lnTo>
                      <a:lnTo>
                        <a:pt x="1890965" y="634443"/>
                      </a:lnTo>
                      <a:lnTo>
                        <a:pt x="2500764" y="355294"/>
                      </a:lnTo>
                      <a:lnTo>
                        <a:pt x="2500764" y="355294"/>
                      </a:lnTo>
                      <a:cubicBezTo>
                        <a:pt x="2500782" y="233814"/>
                        <a:pt x="2478450" y="113370"/>
                        <a:pt x="2434860" y="-22"/>
                      </a:cubicBezTo>
                      <a:close/>
                    </a:path>
                  </a:pathLst>
                </a:custGeom>
                <a:solidFill>
                  <a:srgbClr val="FFC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6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512150F4-E3FA-4CAE-97E0-465097FE63DE}"/>
                    </a:ext>
                  </a:extLst>
                </p:cNvPr>
                <p:cNvSpPr/>
                <p:nvPr/>
              </p:nvSpPr>
              <p:spPr>
                <a:xfrm>
                  <a:off x="3243323" y="2303451"/>
                  <a:ext cx="2537037" cy="553026"/>
                </a:xfrm>
                <a:custGeom>
                  <a:avLst/>
                  <a:gdLst>
                    <a:gd name="connsiteX0" fmla="*/ 2535763 w 2537037"/>
                    <a:gd name="connsiteY0" fmla="*/ 191287 h 553026"/>
                    <a:gd name="connsiteX1" fmla="*/ 2518911 w 2537037"/>
                    <a:gd name="connsiteY1" fmla="*/ -22 h 553026"/>
                    <a:gd name="connsiteX2" fmla="*/ 2491984 w 2537037"/>
                    <a:gd name="connsiteY2" fmla="*/ -22 h 553026"/>
                    <a:gd name="connsiteX3" fmla="*/ 2240891 w 2537037"/>
                    <a:gd name="connsiteY3" fmla="*/ 72849 h 553026"/>
                    <a:gd name="connsiteX4" fmla="*/ 1674871 w 2537037"/>
                    <a:gd name="connsiteY4" fmla="*/ 153440 h 553026"/>
                    <a:gd name="connsiteX5" fmla="*/ 835257 w 2537037"/>
                    <a:gd name="connsiteY5" fmla="*/ 153440 h 553026"/>
                    <a:gd name="connsiteX6" fmla="*/ 269238 w 2537037"/>
                    <a:gd name="connsiteY6" fmla="*/ 72849 h 553026"/>
                    <a:gd name="connsiteX7" fmla="*/ 18144 w 2537037"/>
                    <a:gd name="connsiteY7" fmla="*/ -22 h 553026"/>
                    <a:gd name="connsiteX8" fmla="*/ 1292 w 2537037"/>
                    <a:gd name="connsiteY8" fmla="*/ 191287 h 553026"/>
                    <a:gd name="connsiteX9" fmla="*/ 303555 w 2537037"/>
                    <a:gd name="connsiteY9" fmla="*/ 551734 h 553026"/>
                    <a:gd name="connsiteX10" fmla="*/ 332599 w 2537037"/>
                    <a:gd name="connsiteY10" fmla="*/ 553005 h 553026"/>
                    <a:gd name="connsiteX11" fmla="*/ 2204455 w 2537037"/>
                    <a:gd name="connsiteY11" fmla="*/ 553005 h 553026"/>
                    <a:gd name="connsiteX12" fmla="*/ 2537034 w 2537037"/>
                    <a:gd name="connsiteY12" fmla="*/ 220332 h 553026"/>
                    <a:gd name="connsiteX13" fmla="*/ 2535763 w 2537037"/>
                    <a:gd name="connsiteY13" fmla="*/ 191287 h 553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537037" h="553026">
                      <a:moveTo>
                        <a:pt x="2535763" y="191287"/>
                      </a:moveTo>
                      <a:lnTo>
                        <a:pt x="2518911" y="-22"/>
                      </a:lnTo>
                      <a:lnTo>
                        <a:pt x="2491984" y="-22"/>
                      </a:lnTo>
                      <a:lnTo>
                        <a:pt x="2240891" y="72849"/>
                      </a:lnTo>
                      <a:cubicBezTo>
                        <a:pt x="2056972" y="126306"/>
                        <a:pt x="1866407" y="153440"/>
                        <a:pt x="1674871" y="153440"/>
                      </a:cubicBezTo>
                      <a:lnTo>
                        <a:pt x="835257" y="153440"/>
                      </a:lnTo>
                      <a:cubicBezTo>
                        <a:pt x="643722" y="153440"/>
                        <a:pt x="453156" y="126306"/>
                        <a:pt x="269238" y="72849"/>
                      </a:cubicBezTo>
                      <a:lnTo>
                        <a:pt x="18144" y="-22"/>
                      </a:lnTo>
                      <a:lnTo>
                        <a:pt x="1292" y="191287"/>
                      </a:lnTo>
                      <a:cubicBezTo>
                        <a:pt x="-14776" y="374283"/>
                        <a:pt x="120551" y="535663"/>
                        <a:pt x="303555" y="551734"/>
                      </a:cubicBezTo>
                      <a:cubicBezTo>
                        <a:pt x="313214" y="552581"/>
                        <a:pt x="322902" y="553005"/>
                        <a:pt x="332599" y="553005"/>
                      </a:cubicBezTo>
                      <a:lnTo>
                        <a:pt x="2204455" y="553005"/>
                      </a:lnTo>
                      <a:cubicBezTo>
                        <a:pt x="2388158" y="552977"/>
                        <a:pt x="2537063" y="404043"/>
                        <a:pt x="2537034" y="220332"/>
                      </a:cubicBezTo>
                      <a:cubicBezTo>
                        <a:pt x="2537034" y="210635"/>
                        <a:pt x="2536611" y="200947"/>
                        <a:pt x="2535763" y="191287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7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9835CEF2-8387-4E9C-8E87-A513107D5F33}"/>
                    </a:ext>
                  </a:extLst>
                </p:cNvPr>
                <p:cNvSpPr/>
                <p:nvPr/>
              </p:nvSpPr>
              <p:spPr>
                <a:xfrm>
                  <a:off x="3243323" y="2303451"/>
                  <a:ext cx="2537037" cy="553026"/>
                </a:xfrm>
                <a:custGeom>
                  <a:avLst/>
                  <a:gdLst>
                    <a:gd name="connsiteX0" fmla="*/ 2535763 w 2537037"/>
                    <a:gd name="connsiteY0" fmla="*/ 191287 h 553026"/>
                    <a:gd name="connsiteX1" fmla="*/ 2518911 w 2537037"/>
                    <a:gd name="connsiteY1" fmla="*/ -22 h 553026"/>
                    <a:gd name="connsiteX2" fmla="*/ 2491984 w 2537037"/>
                    <a:gd name="connsiteY2" fmla="*/ -22 h 553026"/>
                    <a:gd name="connsiteX3" fmla="*/ 2240891 w 2537037"/>
                    <a:gd name="connsiteY3" fmla="*/ 72849 h 553026"/>
                    <a:gd name="connsiteX4" fmla="*/ 1674871 w 2537037"/>
                    <a:gd name="connsiteY4" fmla="*/ 153440 h 553026"/>
                    <a:gd name="connsiteX5" fmla="*/ 835257 w 2537037"/>
                    <a:gd name="connsiteY5" fmla="*/ 153440 h 553026"/>
                    <a:gd name="connsiteX6" fmla="*/ 269238 w 2537037"/>
                    <a:gd name="connsiteY6" fmla="*/ 72849 h 553026"/>
                    <a:gd name="connsiteX7" fmla="*/ 18144 w 2537037"/>
                    <a:gd name="connsiteY7" fmla="*/ -22 h 553026"/>
                    <a:gd name="connsiteX8" fmla="*/ 1292 w 2537037"/>
                    <a:gd name="connsiteY8" fmla="*/ 191287 h 553026"/>
                    <a:gd name="connsiteX9" fmla="*/ 303555 w 2537037"/>
                    <a:gd name="connsiteY9" fmla="*/ 551734 h 553026"/>
                    <a:gd name="connsiteX10" fmla="*/ 332599 w 2537037"/>
                    <a:gd name="connsiteY10" fmla="*/ 553005 h 553026"/>
                    <a:gd name="connsiteX11" fmla="*/ 2204455 w 2537037"/>
                    <a:gd name="connsiteY11" fmla="*/ 553005 h 553026"/>
                    <a:gd name="connsiteX12" fmla="*/ 2537034 w 2537037"/>
                    <a:gd name="connsiteY12" fmla="*/ 220332 h 553026"/>
                    <a:gd name="connsiteX13" fmla="*/ 2535763 w 2537037"/>
                    <a:gd name="connsiteY13" fmla="*/ 191287 h 553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537037" h="553026">
                      <a:moveTo>
                        <a:pt x="2535763" y="191287"/>
                      </a:moveTo>
                      <a:lnTo>
                        <a:pt x="2518911" y="-22"/>
                      </a:lnTo>
                      <a:lnTo>
                        <a:pt x="2491984" y="-22"/>
                      </a:lnTo>
                      <a:lnTo>
                        <a:pt x="2240891" y="72849"/>
                      </a:lnTo>
                      <a:cubicBezTo>
                        <a:pt x="2056972" y="126306"/>
                        <a:pt x="1866407" y="153440"/>
                        <a:pt x="1674871" y="153440"/>
                      </a:cubicBezTo>
                      <a:lnTo>
                        <a:pt x="835257" y="153440"/>
                      </a:lnTo>
                      <a:cubicBezTo>
                        <a:pt x="643722" y="153440"/>
                        <a:pt x="453156" y="126306"/>
                        <a:pt x="269238" y="72849"/>
                      </a:cubicBezTo>
                      <a:lnTo>
                        <a:pt x="18144" y="-22"/>
                      </a:lnTo>
                      <a:lnTo>
                        <a:pt x="1292" y="191287"/>
                      </a:lnTo>
                      <a:cubicBezTo>
                        <a:pt x="-14776" y="374283"/>
                        <a:pt x="120551" y="535663"/>
                        <a:pt x="303555" y="551734"/>
                      </a:cubicBezTo>
                      <a:cubicBezTo>
                        <a:pt x="313214" y="552581"/>
                        <a:pt x="322902" y="553005"/>
                        <a:pt x="332599" y="553005"/>
                      </a:cubicBezTo>
                      <a:lnTo>
                        <a:pt x="2204455" y="553005"/>
                      </a:lnTo>
                      <a:cubicBezTo>
                        <a:pt x="2388158" y="552977"/>
                        <a:pt x="2537063" y="404043"/>
                        <a:pt x="2537034" y="220332"/>
                      </a:cubicBezTo>
                      <a:cubicBezTo>
                        <a:pt x="2537034" y="210635"/>
                        <a:pt x="2536611" y="200947"/>
                        <a:pt x="2535763" y="191287"/>
                      </a:cubicBezTo>
                      <a:close/>
                    </a:path>
                  </a:pathLst>
                </a:custGeom>
                <a:solidFill>
                  <a:srgbClr val="FFC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138" name="Group 137">
                  <a:extLst>
                    <a:ext uri="{FF2B5EF4-FFF2-40B4-BE49-F238E27FC236}">
                      <a16:creationId xmlns:a16="http://schemas.microsoft.com/office/drawing/2014/main" id="{3A26B4A8-F868-45A8-B7DB-D958591E7D06}"/>
                    </a:ext>
                  </a:extLst>
                </p:cNvPr>
                <p:cNvGrpSpPr/>
                <p:nvPr/>
              </p:nvGrpSpPr>
              <p:grpSpPr>
                <a:xfrm>
                  <a:off x="3261471" y="936418"/>
                  <a:ext cx="2500766" cy="2139707"/>
                  <a:chOff x="3261471" y="936418"/>
                  <a:chExt cx="2500766" cy="2139707"/>
                </a:xfrm>
              </p:grpSpPr>
              <p:sp>
                <p:nvSpPr>
                  <p:cNvPr id="139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810EA213-3B88-4DF9-9D62-380817058562}"/>
                      </a:ext>
                    </a:extLst>
                  </p:cNvPr>
                  <p:cNvSpPr/>
                  <p:nvPr/>
                </p:nvSpPr>
                <p:spPr>
                  <a:xfrm>
                    <a:off x="3261471" y="2612916"/>
                    <a:ext cx="424420" cy="463209"/>
                  </a:xfrm>
                  <a:custGeom>
                    <a:avLst/>
                    <a:gdLst>
                      <a:gd name="connsiteX0" fmla="*/ 0 w 424420"/>
                      <a:gd name="connsiteY0" fmla="*/ 0 h 463209"/>
                      <a:gd name="connsiteX1" fmla="*/ 424420 w 424420"/>
                      <a:gd name="connsiteY1" fmla="*/ 0 h 463209"/>
                      <a:gd name="connsiteX2" fmla="*/ 424420 w 424420"/>
                      <a:gd name="connsiteY2" fmla="*/ 0 h 463209"/>
                      <a:gd name="connsiteX3" fmla="*/ 424420 w 424420"/>
                      <a:gd name="connsiteY3" fmla="*/ 365766 h 463209"/>
                      <a:gd name="connsiteX4" fmla="*/ 326977 w 424420"/>
                      <a:gd name="connsiteY4" fmla="*/ 463209 h 463209"/>
                      <a:gd name="connsiteX5" fmla="*/ 97443 w 424420"/>
                      <a:gd name="connsiteY5" fmla="*/ 463209 h 463209"/>
                      <a:gd name="connsiteX6" fmla="*/ 0 w 424420"/>
                      <a:gd name="connsiteY6" fmla="*/ 365766 h 463209"/>
                      <a:gd name="connsiteX7" fmla="*/ 0 w 424420"/>
                      <a:gd name="connsiteY7" fmla="*/ 0 h 463209"/>
                      <a:gd name="connsiteX8" fmla="*/ 0 w 424420"/>
                      <a:gd name="connsiteY8" fmla="*/ 0 h 463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24420" h="463209">
                        <a:moveTo>
                          <a:pt x="0" y="0"/>
                        </a:moveTo>
                        <a:lnTo>
                          <a:pt x="424420" y="0"/>
                        </a:lnTo>
                        <a:lnTo>
                          <a:pt x="424420" y="0"/>
                        </a:lnTo>
                        <a:lnTo>
                          <a:pt x="424420" y="365766"/>
                        </a:lnTo>
                        <a:cubicBezTo>
                          <a:pt x="424420" y="419581"/>
                          <a:pt x="380792" y="463209"/>
                          <a:pt x="326977" y="463209"/>
                        </a:cubicBezTo>
                        <a:lnTo>
                          <a:pt x="97443" y="463209"/>
                        </a:lnTo>
                        <a:cubicBezTo>
                          <a:pt x="43626" y="463209"/>
                          <a:pt x="0" y="419581"/>
                          <a:pt x="0" y="365766"/>
                        </a:cubicBez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90909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0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D79AC139-91BE-45AE-91BE-A81BEAE2DB41}"/>
                      </a:ext>
                    </a:extLst>
                  </p:cNvPr>
                  <p:cNvSpPr/>
                  <p:nvPr/>
                </p:nvSpPr>
                <p:spPr>
                  <a:xfrm>
                    <a:off x="5337723" y="2612916"/>
                    <a:ext cx="424514" cy="463209"/>
                  </a:xfrm>
                  <a:custGeom>
                    <a:avLst/>
                    <a:gdLst>
                      <a:gd name="connsiteX0" fmla="*/ 0 w 424514"/>
                      <a:gd name="connsiteY0" fmla="*/ 0 h 463209"/>
                      <a:gd name="connsiteX1" fmla="*/ 424515 w 424514"/>
                      <a:gd name="connsiteY1" fmla="*/ 0 h 463209"/>
                      <a:gd name="connsiteX2" fmla="*/ 424515 w 424514"/>
                      <a:gd name="connsiteY2" fmla="*/ 0 h 463209"/>
                      <a:gd name="connsiteX3" fmla="*/ 424515 w 424514"/>
                      <a:gd name="connsiteY3" fmla="*/ 365766 h 463209"/>
                      <a:gd name="connsiteX4" fmla="*/ 327071 w 424514"/>
                      <a:gd name="connsiteY4" fmla="*/ 463209 h 463209"/>
                      <a:gd name="connsiteX5" fmla="*/ 97443 w 424514"/>
                      <a:gd name="connsiteY5" fmla="*/ 463209 h 463209"/>
                      <a:gd name="connsiteX6" fmla="*/ 0 w 424514"/>
                      <a:gd name="connsiteY6" fmla="*/ 365766 h 463209"/>
                      <a:gd name="connsiteX7" fmla="*/ 0 w 424514"/>
                      <a:gd name="connsiteY7" fmla="*/ 0 h 463209"/>
                      <a:gd name="connsiteX8" fmla="*/ 0 w 424514"/>
                      <a:gd name="connsiteY8" fmla="*/ 0 h 463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24514" h="463209">
                        <a:moveTo>
                          <a:pt x="0" y="0"/>
                        </a:moveTo>
                        <a:lnTo>
                          <a:pt x="424515" y="0"/>
                        </a:lnTo>
                        <a:lnTo>
                          <a:pt x="424515" y="0"/>
                        </a:lnTo>
                        <a:lnTo>
                          <a:pt x="424515" y="365766"/>
                        </a:lnTo>
                        <a:cubicBezTo>
                          <a:pt x="424515" y="419581"/>
                          <a:pt x="380886" y="463209"/>
                          <a:pt x="327071" y="463209"/>
                        </a:cubicBezTo>
                        <a:lnTo>
                          <a:pt x="97443" y="463209"/>
                        </a:lnTo>
                        <a:cubicBezTo>
                          <a:pt x="43628" y="463209"/>
                          <a:pt x="0" y="419581"/>
                          <a:pt x="0" y="365766"/>
                        </a:cubicBez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90909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1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CDE6F9F9-4F5E-4883-8915-9B673AE10C57}"/>
                      </a:ext>
                    </a:extLst>
                  </p:cNvPr>
                  <p:cNvSpPr/>
                  <p:nvPr/>
                </p:nvSpPr>
                <p:spPr>
                  <a:xfrm>
                    <a:off x="4198905" y="936418"/>
                    <a:ext cx="598971" cy="204301"/>
                  </a:xfrm>
                  <a:custGeom>
                    <a:avLst/>
                    <a:gdLst>
                      <a:gd name="connsiteX0" fmla="*/ 598971 w 598971"/>
                      <a:gd name="connsiteY0" fmla="*/ 204302 h 204301"/>
                      <a:gd name="connsiteX1" fmla="*/ 0 w 598971"/>
                      <a:gd name="connsiteY1" fmla="*/ 204302 h 204301"/>
                      <a:gd name="connsiteX2" fmla="*/ 26832 w 598971"/>
                      <a:gd name="connsiteY2" fmla="*/ 0 h 204301"/>
                      <a:gd name="connsiteX3" fmla="*/ 572139 w 598971"/>
                      <a:gd name="connsiteY3" fmla="*/ 0 h 204301"/>
                      <a:gd name="connsiteX4" fmla="*/ 598971 w 598971"/>
                      <a:gd name="connsiteY4" fmla="*/ 204302 h 2043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98971" h="204301">
                        <a:moveTo>
                          <a:pt x="598971" y="204302"/>
                        </a:moveTo>
                        <a:lnTo>
                          <a:pt x="0" y="204302"/>
                        </a:lnTo>
                        <a:lnTo>
                          <a:pt x="26832" y="0"/>
                        </a:lnTo>
                        <a:lnTo>
                          <a:pt x="572139" y="0"/>
                        </a:lnTo>
                        <a:lnTo>
                          <a:pt x="598971" y="204302"/>
                        </a:lnTo>
                        <a:close/>
                      </a:path>
                    </a:pathLst>
                  </a:custGeom>
                  <a:solidFill>
                    <a:srgbClr val="0B274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2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59E92721-BA03-4DF0-A3B4-579025CCE751}"/>
                      </a:ext>
                    </a:extLst>
                  </p:cNvPr>
                  <p:cNvSpPr/>
                  <p:nvPr/>
                </p:nvSpPr>
                <p:spPr>
                  <a:xfrm>
                    <a:off x="4198905" y="936418"/>
                    <a:ext cx="598971" cy="204301"/>
                  </a:xfrm>
                  <a:custGeom>
                    <a:avLst/>
                    <a:gdLst>
                      <a:gd name="connsiteX0" fmla="*/ 598971 w 598971"/>
                      <a:gd name="connsiteY0" fmla="*/ 204302 h 204301"/>
                      <a:gd name="connsiteX1" fmla="*/ 0 w 598971"/>
                      <a:gd name="connsiteY1" fmla="*/ 204302 h 204301"/>
                      <a:gd name="connsiteX2" fmla="*/ 26832 w 598971"/>
                      <a:gd name="connsiteY2" fmla="*/ 0 h 204301"/>
                      <a:gd name="connsiteX3" fmla="*/ 572139 w 598971"/>
                      <a:gd name="connsiteY3" fmla="*/ 0 h 204301"/>
                      <a:gd name="connsiteX4" fmla="*/ 598971 w 598971"/>
                      <a:gd name="connsiteY4" fmla="*/ 204302 h 2043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98971" h="204301">
                        <a:moveTo>
                          <a:pt x="598971" y="204302"/>
                        </a:moveTo>
                        <a:lnTo>
                          <a:pt x="0" y="204302"/>
                        </a:lnTo>
                        <a:lnTo>
                          <a:pt x="26832" y="0"/>
                        </a:lnTo>
                        <a:lnTo>
                          <a:pt x="572139" y="0"/>
                        </a:lnTo>
                        <a:lnTo>
                          <a:pt x="598971" y="20430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3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3B732E6A-8E94-4472-A054-F69FE81BAF14}"/>
                      </a:ext>
                    </a:extLst>
                  </p:cNvPr>
                  <p:cNvSpPr/>
                  <p:nvPr/>
                </p:nvSpPr>
                <p:spPr>
                  <a:xfrm>
                    <a:off x="3501549" y="1140720"/>
                    <a:ext cx="2024187" cy="516779"/>
                  </a:xfrm>
                  <a:custGeom>
                    <a:avLst/>
                    <a:gdLst>
                      <a:gd name="connsiteX0" fmla="*/ 1523316 w 2024187"/>
                      <a:gd name="connsiteY0" fmla="*/ -22 h 516779"/>
                      <a:gd name="connsiteX1" fmla="*/ 500583 w 2024187"/>
                      <a:gd name="connsiteY1" fmla="*/ -22 h 516779"/>
                      <a:gd name="connsiteX2" fmla="*/ 74562 w 2024187"/>
                      <a:gd name="connsiteY2" fmla="*/ 302759 h 516779"/>
                      <a:gd name="connsiteX3" fmla="*/ -3 w 2024187"/>
                      <a:gd name="connsiteY3" fmla="*/ 516758 h 516779"/>
                      <a:gd name="connsiteX4" fmla="*/ 2024185 w 2024187"/>
                      <a:gd name="connsiteY4" fmla="*/ 516758 h 516779"/>
                      <a:gd name="connsiteX5" fmla="*/ 1949525 w 2024187"/>
                      <a:gd name="connsiteY5" fmla="*/ 302759 h 516779"/>
                      <a:gd name="connsiteX6" fmla="*/ 1523316 w 2024187"/>
                      <a:gd name="connsiteY6" fmla="*/ -22 h 516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024187" h="516779">
                        <a:moveTo>
                          <a:pt x="1523316" y="-22"/>
                        </a:moveTo>
                        <a:lnTo>
                          <a:pt x="500583" y="-22"/>
                        </a:lnTo>
                        <a:cubicBezTo>
                          <a:pt x="308615" y="-33"/>
                          <a:pt x="137670" y="121458"/>
                          <a:pt x="74562" y="302759"/>
                        </a:cubicBezTo>
                        <a:lnTo>
                          <a:pt x="-3" y="516758"/>
                        </a:lnTo>
                        <a:lnTo>
                          <a:pt x="2024185" y="516758"/>
                        </a:lnTo>
                        <a:lnTo>
                          <a:pt x="1949525" y="302759"/>
                        </a:lnTo>
                        <a:cubicBezTo>
                          <a:pt x="1886418" y="121373"/>
                          <a:pt x="1715359" y="-142"/>
                          <a:pt x="1523316" y="-22"/>
                        </a:cubicBezTo>
                        <a:close/>
                      </a:path>
                    </a:pathLst>
                  </a:custGeom>
                  <a:solidFill>
                    <a:srgbClr val="FFC000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4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15B492EC-96E5-4518-A6E0-CEE241700D31}"/>
                      </a:ext>
                    </a:extLst>
                  </p:cNvPr>
                  <p:cNvSpPr/>
                  <p:nvPr/>
                </p:nvSpPr>
                <p:spPr>
                  <a:xfrm>
                    <a:off x="3599407" y="1201384"/>
                    <a:ext cx="1859051" cy="455207"/>
                  </a:xfrm>
                  <a:custGeom>
                    <a:avLst/>
                    <a:gdLst>
                      <a:gd name="connsiteX0" fmla="*/ 1859049 w 1859051"/>
                      <a:gd name="connsiteY0" fmla="*/ 455185 h 455207"/>
                      <a:gd name="connsiteX1" fmla="*/ -3 w 1859051"/>
                      <a:gd name="connsiteY1" fmla="*/ 455185 h 455207"/>
                      <a:gd name="connsiteX2" fmla="*/ 75315 w 1859051"/>
                      <a:gd name="connsiteY2" fmla="*/ 235914 h 455207"/>
                      <a:gd name="connsiteX3" fmla="*/ 406717 w 1859051"/>
                      <a:gd name="connsiteY3" fmla="*/ -22 h 455207"/>
                      <a:gd name="connsiteX4" fmla="*/ 1466168 w 1859051"/>
                      <a:gd name="connsiteY4" fmla="*/ -22 h 455207"/>
                      <a:gd name="connsiteX5" fmla="*/ 1803501 w 1859051"/>
                      <a:gd name="connsiteY5" fmla="*/ 255967 h 4552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859051" h="455207">
                        <a:moveTo>
                          <a:pt x="1859049" y="455185"/>
                        </a:moveTo>
                        <a:lnTo>
                          <a:pt x="-3" y="455185"/>
                        </a:lnTo>
                        <a:lnTo>
                          <a:pt x="75315" y="235914"/>
                        </a:lnTo>
                        <a:cubicBezTo>
                          <a:pt x="124131" y="94616"/>
                          <a:pt x="257229" y="-140"/>
                          <a:pt x="406717" y="-22"/>
                        </a:cubicBezTo>
                        <a:lnTo>
                          <a:pt x="1466168" y="-22"/>
                        </a:lnTo>
                        <a:cubicBezTo>
                          <a:pt x="1623311" y="-30"/>
                          <a:pt x="1761219" y="104624"/>
                          <a:pt x="1803501" y="255967"/>
                        </a:cubicBezTo>
                        <a:close/>
                      </a:path>
                    </a:pathLst>
                  </a:custGeom>
                  <a:solidFill>
                    <a:srgbClr val="000000">
                      <a:alpha val="68000"/>
                    </a:srgbClr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5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DB0DB4DF-7231-49DF-90D8-2559A8C3E8CC}"/>
                      </a:ext>
                    </a:extLst>
                  </p:cNvPr>
                  <p:cNvSpPr/>
                  <p:nvPr/>
                </p:nvSpPr>
                <p:spPr>
                  <a:xfrm>
                    <a:off x="3327751" y="1657217"/>
                    <a:ext cx="2368205" cy="364916"/>
                  </a:xfrm>
                  <a:custGeom>
                    <a:avLst/>
                    <a:gdLst>
                      <a:gd name="connsiteX0" fmla="*/ -3 w 2368205"/>
                      <a:gd name="connsiteY0" fmla="*/ 290614 h 364916"/>
                      <a:gd name="connsiteX1" fmla="*/ -3 w 2368205"/>
                      <a:gd name="connsiteY1" fmla="*/ 290614 h 364916"/>
                      <a:gd name="connsiteX2" fmla="*/ 2341653 w 2368205"/>
                      <a:gd name="connsiteY2" fmla="*/ 293909 h 364916"/>
                      <a:gd name="connsiteX3" fmla="*/ 2368203 w 2368205"/>
                      <a:gd name="connsiteY3" fmla="*/ 290614 h 364916"/>
                      <a:gd name="connsiteX4" fmla="*/ 2208151 w 2368205"/>
                      <a:gd name="connsiteY4" fmla="*/ 16736 h 364916"/>
                      <a:gd name="connsiteX5" fmla="*/ 2194311 w 2368205"/>
                      <a:gd name="connsiteY5" fmla="*/ -22 h 364916"/>
                      <a:gd name="connsiteX6" fmla="*/ 173794 w 2368205"/>
                      <a:gd name="connsiteY6" fmla="*/ -22 h 364916"/>
                      <a:gd name="connsiteX7" fmla="*/ 159861 w 2368205"/>
                      <a:gd name="connsiteY7" fmla="*/ 16736 h 364916"/>
                      <a:gd name="connsiteX8" fmla="*/ -3 w 2368205"/>
                      <a:gd name="connsiteY8" fmla="*/ 290614 h 364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368205" h="364916">
                        <a:moveTo>
                          <a:pt x="-3" y="290614"/>
                        </a:moveTo>
                        <a:lnTo>
                          <a:pt x="-3" y="290614"/>
                        </a:lnTo>
                        <a:cubicBezTo>
                          <a:pt x="777407" y="388537"/>
                          <a:pt x="1563969" y="389648"/>
                          <a:pt x="2341653" y="293909"/>
                        </a:cubicBezTo>
                        <a:lnTo>
                          <a:pt x="2368203" y="290614"/>
                        </a:lnTo>
                        <a:cubicBezTo>
                          <a:pt x="2329969" y="191287"/>
                          <a:pt x="2275919" y="98796"/>
                          <a:pt x="2208151" y="16736"/>
                        </a:cubicBezTo>
                        <a:lnTo>
                          <a:pt x="2194311" y="-22"/>
                        </a:lnTo>
                        <a:lnTo>
                          <a:pt x="173794" y="-22"/>
                        </a:lnTo>
                        <a:lnTo>
                          <a:pt x="159861" y="16736"/>
                        </a:lnTo>
                        <a:cubicBezTo>
                          <a:pt x="92181" y="98834"/>
                          <a:pt x="38199" y="191316"/>
                          <a:pt x="-3" y="290614"/>
                        </a:cubicBezTo>
                        <a:close/>
                      </a:path>
                    </a:pathLst>
                  </a:custGeom>
                  <a:solidFill>
                    <a:srgbClr val="FFC000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6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755B813F-CC76-4F0C-B62D-8542173D62A8}"/>
                      </a:ext>
                    </a:extLst>
                  </p:cNvPr>
                  <p:cNvSpPr/>
                  <p:nvPr/>
                </p:nvSpPr>
                <p:spPr>
                  <a:xfrm>
                    <a:off x="3288183" y="1688581"/>
                    <a:ext cx="2368205" cy="364916"/>
                  </a:xfrm>
                  <a:custGeom>
                    <a:avLst/>
                    <a:gdLst>
                      <a:gd name="connsiteX0" fmla="*/ -3 w 2368205"/>
                      <a:gd name="connsiteY0" fmla="*/ 290614 h 364916"/>
                      <a:gd name="connsiteX1" fmla="*/ -3 w 2368205"/>
                      <a:gd name="connsiteY1" fmla="*/ 290614 h 364916"/>
                      <a:gd name="connsiteX2" fmla="*/ 2341653 w 2368205"/>
                      <a:gd name="connsiteY2" fmla="*/ 293909 h 364916"/>
                      <a:gd name="connsiteX3" fmla="*/ 2368203 w 2368205"/>
                      <a:gd name="connsiteY3" fmla="*/ 290614 h 364916"/>
                      <a:gd name="connsiteX4" fmla="*/ 2208151 w 2368205"/>
                      <a:gd name="connsiteY4" fmla="*/ 16736 h 364916"/>
                      <a:gd name="connsiteX5" fmla="*/ 2194311 w 2368205"/>
                      <a:gd name="connsiteY5" fmla="*/ -22 h 364916"/>
                      <a:gd name="connsiteX6" fmla="*/ 173794 w 2368205"/>
                      <a:gd name="connsiteY6" fmla="*/ -22 h 364916"/>
                      <a:gd name="connsiteX7" fmla="*/ 159861 w 2368205"/>
                      <a:gd name="connsiteY7" fmla="*/ 16736 h 364916"/>
                      <a:gd name="connsiteX8" fmla="*/ -3 w 2368205"/>
                      <a:gd name="connsiteY8" fmla="*/ 290614 h 364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368205" h="364916">
                        <a:moveTo>
                          <a:pt x="-3" y="290614"/>
                        </a:moveTo>
                        <a:lnTo>
                          <a:pt x="-3" y="290614"/>
                        </a:lnTo>
                        <a:cubicBezTo>
                          <a:pt x="777407" y="388537"/>
                          <a:pt x="1563969" y="389648"/>
                          <a:pt x="2341653" y="293909"/>
                        </a:cubicBezTo>
                        <a:lnTo>
                          <a:pt x="2368203" y="290614"/>
                        </a:lnTo>
                        <a:cubicBezTo>
                          <a:pt x="2329969" y="191287"/>
                          <a:pt x="2275919" y="98796"/>
                          <a:pt x="2208151" y="16736"/>
                        </a:cubicBezTo>
                        <a:lnTo>
                          <a:pt x="2194311" y="-22"/>
                        </a:lnTo>
                        <a:lnTo>
                          <a:pt x="173794" y="-22"/>
                        </a:lnTo>
                        <a:lnTo>
                          <a:pt x="159861" y="16736"/>
                        </a:lnTo>
                        <a:cubicBezTo>
                          <a:pt x="92181" y="98834"/>
                          <a:pt x="38199" y="191316"/>
                          <a:pt x="-3" y="290614"/>
                        </a:cubicBezTo>
                        <a:close/>
                      </a:path>
                    </a:pathLst>
                  </a:custGeom>
                  <a:solidFill>
                    <a:srgbClr val="FFC000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7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D17351AB-2C93-4749-9BBD-8E243B209243}"/>
                      </a:ext>
                    </a:extLst>
                  </p:cNvPr>
                  <p:cNvSpPr/>
                  <p:nvPr/>
                </p:nvSpPr>
                <p:spPr>
                  <a:xfrm>
                    <a:off x="4010891" y="2050098"/>
                    <a:ext cx="1001925" cy="287717"/>
                  </a:xfrm>
                  <a:custGeom>
                    <a:avLst/>
                    <a:gdLst>
                      <a:gd name="connsiteX0" fmla="*/ 500963 w 1001925"/>
                      <a:gd name="connsiteY0" fmla="*/ 0 h 287717"/>
                      <a:gd name="connsiteX1" fmla="*/ 0 w 1001925"/>
                      <a:gd name="connsiteY1" fmla="*/ 0 h 287717"/>
                      <a:gd name="connsiteX2" fmla="*/ 99891 w 1001925"/>
                      <a:gd name="connsiteY2" fmla="*/ 287717 h 287717"/>
                      <a:gd name="connsiteX3" fmla="*/ 500963 w 1001925"/>
                      <a:gd name="connsiteY3" fmla="*/ 287717 h 287717"/>
                      <a:gd name="connsiteX4" fmla="*/ 901941 w 1001925"/>
                      <a:gd name="connsiteY4" fmla="*/ 287717 h 287717"/>
                      <a:gd name="connsiteX5" fmla="*/ 1001926 w 1001925"/>
                      <a:gd name="connsiteY5" fmla="*/ 0 h 287717"/>
                      <a:gd name="connsiteX6" fmla="*/ 500963 w 1001925"/>
                      <a:gd name="connsiteY6" fmla="*/ 0 h 2877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01925" h="287717">
                        <a:moveTo>
                          <a:pt x="500963" y="0"/>
                        </a:moveTo>
                        <a:lnTo>
                          <a:pt x="0" y="0"/>
                        </a:lnTo>
                        <a:lnTo>
                          <a:pt x="99891" y="287717"/>
                        </a:lnTo>
                        <a:lnTo>
                          <a:pt x="500963" y="287717"/>
                        </a:lnTo>
                        <a:lnTo>
                          <a:pt x="901941" y="287717"/>
                        </a:lnTo>
                        <a:lnTo>
                          <a:pt x="1001926" y="0"/>
                        </a:lnTo>
                        <a:lnTo>
                          <a:pt x="500963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8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AB53BF07-AD14-491B-8EFB-095C5DC6F72F}"/>
                      </a:ext>
                    </a:extLst>
                  </p:cNvPr>
                  <p:cNvSpPr/>
                  <p:nvPr/>
                </p:nvSpPr>
                <p:spPr>
                  <a:xfrm>
                    <a:off x="4047609" y="2072882"/>
                    <a:ext cx="928490" cy="242149"/>
                  </a:xfrm>
                  <a:custGeom>
                    <a:avLst/>
                    <a:gdLst>
                      <a:gd name="connsiteX0" fmla="*/ 464245 w 928490"/>
                      <a:gd name="connsiteY0" fmla="*/ 0 h 242149"/>
                      <a:gd name="connsiteX1" fmla="*/ 0 w 928490"/>
                      <a:gd name="connsiteY1" fmla="*/ 0 h 242149"/>
                      <a:gd name="connsiteX2" fmla="*/ 92548 w 928490"/>
                      <a:gd name="connsiteY2" fmla="*/ 242149 h 242149"/>
                      <a:gd name="connsiteX3" fmla="*/ 464245 w 928490"/>
                      <a:gd name="connsiteY3" fmla="*/ 242149 h 242149"/>
                      <a:gd name="connsiteX4" fmla="*/ 835943 w 928490"/>
                      <a:gd name="connsiteY4" fmla="*/ 242149 h 242149"/>
                      <a:gd name="connsiteX5" fmla="*/ 928490 w 928490"/>
                      <a:gd name="connsiteY5" fmla="*/ 0 h 242149"/>
                      <a:gd name="connsiteX6" fmla="*/ 464245 w 928490"/>
                      <a:gd name="connsiteY6" fmla="*/ 0 h 2421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28490" h="242149">
                        <a:moveTo>
                          <a:pt x="464245" y="0"/>
                        </a:moveTo>
                        <a:lnTo>
                          <a:pt x="0" y="0"/>
                        </a:lnTo>
                        <a:lnTo>
                          <a:pt x="92548" y="242149"/>
                        </a:lnTo>
                        <a:lnTo>
                          <a:pt x="464245" y="242149"/>
                        </a:lnTo>
                        <a:lnTo>
                          <a:pt x="835943" y="242149"/>
                        </a:lnTo>
                        <a:lnTo>
                          <a:pt x="928490" y="0"/>
                        </a:lnTo>
                        <a:lnTo>
                          <a:pt x="464245" y="0"/>
                        </a:lnTo>
                        <a:close/>
                      </a:path>
                    </a:pathLst>
                  </a:custGeom>
                  <a:solidFill>
                    <a:srgbClr val="0B274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9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0ED28C16-B5FA-441F-B13F-59FD8C74DF4A}"/>
                      </a:ext>
                    </a:extLst>
                  </p:cNvPr>
                  <p:cNvSpPr/>
                  <p:nvPr/>
                </p:nvSpPr>
                <p:spPr>
                  <a:xfrm>
                    <a:off x="4047609" y="2072882"/>
                    <a:ext cx="928490" cy="242149"/>
                  </a:xfrm>
                  <a:custGeom>
                    <a:avLst/>
                    <a:gdLst>
                      <a:gd name="connsiteX0" fmla="*/ 464245 w 928490"/>
                      <a:gd name="connsiteY0" fmla="*/ 0 h 242149"/>
                      <a:gd name="connsiteX1" fmla="*/ 0 w 928490"/>
                      <a:gd name="connsiteY1" fmla="*/ 0 h 242149"/>
                      <a:gd name="connsiteX2" fmla="*/ 92548 w 928490"/>
                      <a:gd name="connsiteY2" fmla="*/ 242149 h 242149"/>
                      <a:gd name="connsiteX3" fmla="*/ 464245 w 928490"/>
                      <a:gd name="connsiteY3" fmla="*/ 242149 h 242149"/>
                      <a:gd name="connsiteX4" fmla="*/ 835943 w 928490"/>
                      <a:gd name="connsiteY4" fmla="*/ 242149 h 242149"/>
                      <a:gd name="connsiteX5" fmla="*/ 928490 w 928490"/>
                      <a:gd name="connsiteY5" fmla="*/ 0 h 242149"/>
                      <a:gd name="connsiteX6" fmla="*/ 464245 w 928490"/>
                      <a:gd name="connsiteY6" fmla="*/ 0 h 2421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28490" h="242149">
                        <a:moveTo>
                          <a:pt x="464245" y="0"/>
                        </a:moveTo>
                        <a:lnTo>
                          <a:pt x="0" y="0"/>
                        </a:lnTo>
                        <a:lnTo>
                          <a:pt x="92548" y="242149"/>
                        </a:lnTo>
                        <a:lnTo>
                          <a:pt x="464245" y="242149"/>
                        </a:lnTo>
                        <a:lnTo>
                          <a:pt x="835943" y="242149"/>
                        </a:lnTo>
                        <a:lnTo>
                          <a:pt x="928490" y="0"/>
                        </a:lnTo>
                        <a:lnTo>
                          <a:pt x="464245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0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BEEE2282-082B-44BB-B09F-F544CD49FE17}"/>
                      </a:ext>
                    </a:extLst>
                  </p:cNvPr>
                  <p:cNvSpPr/>
                  <p:nvPr/>
                </p:nvSpPr>
                <p:spPr>
                  <a:xfrm>
                    <a:off x="4047609" y="2100561"/>
                    <a:ext cx="924724" cy="30315"/>
                  </a:xfrm>
                  <a:custGeom>
                    <a:avLst/>
                    <a:gdLst>
                      <a:gd name="connsiteX0" fmla="*/ 0 w 924724"/>
                      <a:gd name="connsiteY0" fmla="*/ 0 h 30315"/>
                      <a:gd name="connsiteX1" fmla="*/ 924724 w 924724"/>
                      <a:gd name="connsiteY1" fmla="*/ 0 h 30315"/>
                      <a:gd name="connsiteX2" fmla="*/ 924724 w 924724"/>
                      <a:gd name="connsiteY2" fmla="*/ 30316 h 30315"/>
                      <a:gd name="connsiteX3" fmla="*/ 0 w 924724"/>
                      <a:gd name="connsiteY3" fmla="*/ 30316 h 303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24724" h="30315">
                        <a:moveTo>
                          <a:pt x="0" y="0"/>
                        </a:moveTo>
                        <a:lnTo>
                          <a:pt x="924724" y="0"/>
                        </a:lnTo>
                        <a:lnTo>
                          <a:pt x="924724" y="30316"/>
                        </a:lnTo>
                        <a:lnTo>
                          <a:pt x="0" y="3031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1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9FAD3CA0-FC0B-4393-B99A-C18F2EAFC0BA}"/>
                      </a:ext>
                    </a:extLst>
                  </p:cNvPr>
                  <p:cNvSpPr/>
                  <p:nvPr/>
                </p:nvSpPr>
                <p:spPr>
                  <a:xfrm>
                    <a:off x="4077548" y="2178798"/>
                    <a:ext cx="868988" cy="30315"/>
                  </a:xfrm>
                  <a:custGeom>
                    <a:avLst/>
                    <a:gdLst>
                      <a:gd name="connsiteX0" fmla="*/ 0 w 868988"/>
                      <a:gd name="connsiteY0" fmla="*/ 0 h 30315"/>
                      <a:gd name="connsiteX1" fmla="*/ 868989 w 868988"/>
                      <a:gd name="connsiteY1" fmla="*/ 0 h 30315"/>
                      <a:gd name="connsiteX2" fmla="*/ 868989 w 868988"/>
                      <a:gd name="connsiteY2" fmla="*/ 30316 h 30315"/>
                      <a:gd name="connsiteX3" fmla="*/ 0 w 868988"/>
                      <a:gd name="connsiteY3" fmla="*/ 30316 h 303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68988" h="30315">
                        <a:moveTo>
                          <a:pt x="0" y="0"/>
                        </a:moveTo>
                        <a:lnTo>
                          <a:pt x="868989" y="0"/>
                        </a:lnTo>
                        <a:lnTo>
                          <a:pt x="868989" y="30316"/>
                        </a:lnTo>
                        <a:lnTo>
                          <a:pt x="0" y="3031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2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9B9985AA-7CFA-4D3A-8D7A-17B94FA6FC42}"/>
                      </a:ext>
                    </a:extLst>
                  </p:cNvPr>
                  <p:cNvSpPr/>
                  <p:nvPr/>
                </p:nvSpPr>
                <p:spPr>
                  <a:xfrm>
                    <a:off x="4098731" y="2257036"/>
                    <a:ext cx="814853" cy="30315"/>
                  </a:xfrm>
                  <a:custGeom>
                    <a:avLst/>
                    <a:gdLst>
                      <a:gd name="connsiteX0" fmla="*/ 0 w 814853"/>
                      <a:gd name="connsiteY0" fmla="*/ 0 h 30315"/>
                      <a:gd name="connsiteX1" fmla="*/ 814853 w 814853"/>
                      <a:gd name="connsiteY1" fmla="*/ 0 h 30315"/>
                      <a:gd name="connsiteX2" fmla="*/ 814853 w 814853"/>
                      <a:gd name="connsiteY2" fmla="*/ 30316 h 30315"/>
                      <a:gd name="connsiteX3" fmla="*/ 0 w 814853"/>
                      <a:gd name="connsiteY3" fmla="*/ 30316 h 303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14853" h="30315">
                        <a:moveTo>
                          <a:pt x="0" y="0"/>
                        </a:moveTo>
                        <a:lnTo>
                          <a:pt x="814853" y="0"/>
                        </a:lnTo>
                        <a:lnTo>
                          <a:pt x="814853" y="30316"/>
                        </a:lnTo>
                        <a:lnTo>
                          <a:pt x="0" y="3031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3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3DAC1342-FB16-468D-93C2-A8F60016859C}"/>
                      </a:ext>
                    </a:extLst>
                  </p:cNvPr>
                  <p:cNvSpPr/>
                  <p:nvPr/>
                </p:nvSpPr>
                <p:spPr>
                  <a:xfrm>
                    <a:off x="3780322" y="2612916"/>
                    <a:ext cx="1463440" cy="168431"/>
                  </a:xfrm>
                  <a:custGeom>
                    <a:avLst/>
                    <a:gdLst>
                      <a:gd name="connsiteX0" fmla="*/ 1463438 w 1463440"/>
                      <a:gd name="connsiteY0" fmla="*/ 168409 h 168431"/>
                      <a:gd name="connsiteX1" fmla="*/ -3 w 1463440"/>
                      <a:gd name="connsiteY1" fmla="*/ 168409 h 168431"/>
                      <a:gd name="connsiteX2" fmla="*/ 282442 w 1463440"/>
                      <a:gd name="connsiteY2" fmla="*/ -22 h 168431"/>
                      <a:gd name="connsiteX3" fmla="*/ 1180522 w 1463440"/>
                      <a:gd name="connsiteY3" fmla="*/ -22 h 168431"/>
                      <a:gd name="connsiteX4" fmla="*/ 1462967 w 1463440"/>
                      <a:gd name="connsiteY4" fmla="*/ 168409 h 1684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63440" h="168431">
                        <a:moveTo>
                          <a:pt x="1463438" y="168409"/>
                        </a:moveTo>
                        <a:lnTo>
                          <a:pt x="-3" y="168409"/>
                        </a:lnTo>
                        <a:cubicBezTo>
                          <a:pt x="-3" y="75391"/>
                          <a:pt x="126532" y="-22"/>
                          <a:pt x="282442" y="-22"/>
                        </a:cubicBezTo>
                        <a:lnTo>
                          <a:pt x="1180522" y="-22"/>
                        </a:lnTo>
                        <a:cubicBezTo>
                          <a:pt x="1336620" y="-22"/>
                          <a:pt x="1462967" y="75297"/>
                          <a:pt x="1462967" y="168409"/>
                        </a:cubicBezTo>
                        <a:close/>
                      </a:path>
                    </a:pathLst>
                  </a:custGeom>
                  <a:solidFill>
                    <a:srgbClr val="090909">
                      <a:alpha val="44000"/>
                    </a:srgbClr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4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386C809C-7B62-4457-BEF9-1E28F378DB42}"/>
                      </a:ext>
                    </a:extLst>
                  </p:cNvPr>
                  <p:cNvSpPr/>
                  <p:nvPr/>
                </p:nvSpPr>
                <p:spPr>
                  <a:xfrm>
                    <a:off x="4286934" y="975772"/>
                    <a:ext cx="94901" cy="122769"/>
                  </a:xfrm>
                  <a:custGeom>
                    <a:avLst/>
                    <a:gdLst>
                      <a:gd name="connsiteX0" fmla="*/ 31630 w 94901"/>
                      <a:gd name="connsiteY0" fmla="*/ 122747 h 122769"/>
                      <a:gd name="connsiteX1" fmla="*/ 31630 w 94901"/>
                      <a:gd name="connsiteY1" fmla="*/ 13630 h 122769"/>
                      <a:gd name="connsiteX2" fmla="*/ -3 w 94901"/>
                      <a:gd name="connsiteY2" fmla="*/ 13630 h 122769"/>
                      <a:gd name="connsiteX3" fmla="*/ -3 w 94901"/>
                      <a:gd name="connsiteY3" fmla="*/ -22 h 122769"/>
                      <a:gd name="connsiteX4" fmla="*/ 94898 w 94901"/>
                      <a:gd name="connsiteY4" fmla="*/ -22 h 122769"/>
                      <a:gd name="connsiteX5" fmla="*/ 94898 w 94901"/>
                      <a:gd name="connsiteY5" fmla="*/ 13630 h 122769"/>
                      <a:gd name="connsiteX6" fmla="*/ 63359 w 94901"/>
                      <a:gd name="connsiteY6" fmla="*/ 13630 h 122769"/>
                      <a:gd name="connsiteX7" fmla="*/ 63359 w 94901"/>
                      <a:gd name="connsiteY7" fmla="*/ 122747 h 1227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94901" h="122769">
                        <a:moveTo>
                          <a:pt x="31630" y="122747"/>
                        </a:moveTo>
                        <a:lnTo>
                          <a:pt x="31630" y="13630"/>
                        </a:lnTo>
                        <a:lnTo>
                          <a:pt x="-3" y="13630"/>
                        </a:lnTo>
                        <a:lnTo>
                          <a:pt x="-3" y="-22"/>
                        </a:lnTo>
                        <a:lnTo>
                          <a:pt x="94898" y="-22"/>
                        </a:lnTo>
                        <a:lnTo>
                          <a:pt x="94898" y="13630"/>
                        </a:lnTo>
                        <a:lnTo>
                          <a:pt x="63359" y="13630"/>
                        </a:lnTo>
                        <a:lnTo>
                          <a:pt x="63359" y="12274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5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56CC981D-88FD-419F-BFDE-E623C808610E}"/>
                      </a:ext>
                    </a:extLst>
                  </p:cNvPr>
                  <p:cNvSpPr/>
                  <p:nvPr/>
                </p:nvSpPr>
                <p:spPr>
                  <a:xfrm>
                    <a:off x="4397746" y="976138"/>
                    <a:ext cx="95089" cy="122497"/>
                  </a:xfrm>
                  <a:custGeom>
                    <a:avLst/>
                    <a:gdLst>
                      <a:gd name="connsiteX0" fmla="*/ -3 w 95089"/>
                      <a:gd name="connsiteY0" fmla="*/ 122381 h 122497"/>
                      <a:gd name="connsiteX1" fmla="*/ -3 w 95089"/>
                      <a:gd name="connsiteY1" fmla="*/ 26821 h 122497"/>
                      <a:gd name="connsiteX2" fmla="*/ 9412 w 95089"/>
                      <a:gd name="connsiteY2" fmla="*/ 7991 h 122497"/>
                      <a:gd name="connsiteX3" fmla="*/ 31631 w 95089"/>
                      <a:gd name="connsiteY3" fmla="*/ -12 h 122497"/>
                      <a:gd name="connsiteX4" fmla="*/ 63359 w 95089"/>
                      <a:gd name="connsiteY4" fmla="*/ -12 h 122497"/>
                      <a:gd name="connsiteX5" fmla="*/ 85672 w 95089"/>
                      <a:gd name="connsiteY5" fmla="*/ 8085 h 122497"/>
                      <a:gd name="connsiteX6" fmla="*/ 95087 w 95089"/>
                      <a:gd name="connsiteY6" fmla="*/ 26915 h 122497"/>
                      <a:gd name="connsiteX7" fmla="*/ 95087 w 95089"/>
                      <a:gd name="connsiteY7" fmla="*/ 122381 h 122497"/>
                      <a:gd name="connsiteX8" fmla="*/ 63453 w 95089"/>
                      <a:gd name="connsiteY8" fmla="*/ 122381 h 122497"/>
                      <a:gd name="connsiteX9" fmla="*/ 63453 w 95089"/>
                      <a:gd name="connsiteY9" fmla="*/ 67869 h 122497"/>
                      <a:gd name="connsiteX10" fmla="*/ 31725 w 95089"/>
                      <a:gd name="connsiteY10" fmla="*/ 67869 h 122497"/>
                      <a:gd name="connsiteX11" fmla="*/ 31725 w 95089"/>
                      <a:gd name="connsiteY11" fmla="*/ 122475 h 122497"/>
                      <a:gd name="connsiteX12" fmla="*/ 31537 w 95089"/>
                      <a:gd name="connsiteY12" fmla="*/ 54218 h 122497"/>
                      <a:gd name="connsiteX13" fmla="*/ 63264 w 95089"/>
                      <a:gd name="connsiteY13" fmla="*/ 54218 h 122497"/>
                      <a:gd name="connsiteX14" fmla="*/ 63264 w 95089"/>
                      <a:gd name="connsiteY14" fmla="*/ 26821 h 122497"/>
                      <a:gd name="connsiteX15" fmla="*/ 58557 w 95089"/>
                      <a:gd name="connsiteY15" fmla="*/ 17406 h 122497"/>
                      <a:gd name="connsiteX16" fmla="*/ 47448 w 95089"/>
                      <a:gd name="connsiteY16" fmla="*/ 13357 h 122497"/>
                      <a:gd name="connsiteX17" fmla="*/ 36244 w 95089"/>
                      <a:gd name="connsiteY17" fmla="*/ 17406 h 122497"/>
                      <a:gd name="connsiteX18" fmla="*/ 31537 w 95089"/>
                      <a:gd name="connsiteY18" fmla="*/ 26821 h 122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95089" h="122497">
                        <a:moveTo>
                          <a:pt x="-3" y="122381"/>
                        </a:moveTo>
                        <a:lnTo>
                          <a:pt x="-3" y="26821"/>
                        </a:lnTo>
                        <a:cubicBezTo>
                          <a:pt x="147" y="19450"/>
                          <a:pt x="3612" y="12537"/>
                          <a:pt x="9412" y="7991"/>
                        </a:cubicBezTo>
                        <a:cubicBezTo>
                          <a:pt x="15559" y="2638"/>
                          <a:pt x="23487" y="-217"/>
                          <a:pt x="31631" y="-12"/>
                        </a:cubicBezTo>
                        <a:lnTo>
                          <a:pt x="63359" y="-12"/>
                        </a:lnTo>
                        <a:cubicBezTo>
                          <a:pt x="71540" y="-169"/>
                          <a:pt x="79496" y="2716"/>
                          <a:pt x="85672" y="8085"/>
                        </a:cubicBezTo>
                        <a:cubicBezTo>
                          <a:pt x="91471" y="12632"/>
                          <a:pt x="94936" y="19544"/>
                          <a:pt x="95087" y="26915"/>
                        </a:cubicBezTo>
                        <a:lnTo>
                          <a:pt x="95087" y="122381"/>
                        </a:lnTo>
                        <a:lnTo>
                          <a:pt x="63453" y="122381"/>
                        </a:lnTo>
                        <a:lnTo>
                          <a:pt x="63453" y="67869"/>
                        </a:lnTo>
                        <a:lnTo>
                          <a:pt x="31725" y="67869"/>
                        </a:lnTo>
                        <a:lnTo>
                          <a:pt x="31725" y="122475"/>
                        </a:lnTo>
                        <a:close/>
                        <a:moveTo>
                          <a:pt x="31537" y="54218"/>
                        </a:moveTo>
                        <a:lnTo>
                          <a:pt x="63264" y="54218"/>
                        </a:lnTo>
                        <a:lnTo>
                          <a:pt x="63264" y="26821"/>
                        </a:lnTo>
                        <a:cubicBezTo>
                          <a:pt x="63246" y="23120"/>
                          <a:pt x="61513" y="19638"/>
                          <a:pt x="58557" y="17406"/>
                        </a:cubicBezTo>
                        <a:cubicBezTo>
                          <a:pt x="55469" y="14743"/>
                          <a:pt x="51524" y="13304"/>
                          <a:pt x="47448" y="13357"/>
                        </a:cubicBezTo>
                        <a:cubicBezTo>
                          <a:pt x="43343" y="13298"/>
                          <a:pt x="39360" y="14738"/>
                          <a:pt x="36244" y="17406"/>
                        </a:cubicBezTo>
                        <a:cubicBezTo>
                          <a:pt x="33325" y="19665"/>
                          <a:pt x="31593" y="23130"/>
                          <a:pt x="31537" y="2682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6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A5B568BF-A324-4648-ACBF-38DC74C7264F}"/>
                      </a:ext>
                    </a:extLst>
                  </p:cNvPr>
                  <p:cNvSpPr/>
                  <p:nvPr/>
                </p:nvSpPr>
                <p:spPr>
                  <a:xfrm>
                    <a:off x="4524281" y="975772"/>
                    <a:ext cx="94901" cy="122769"/>
                  </a:xfrm>
                  <a:custGeom>
                    <a:avLst/>
                    <a:gdLst>
                      <a:gd name="connsiteX0" fmla="*/ -3 w 94901"/>
                      <a:gd name="connsiteY0" fmla="*/ 122747 h 122769"/>
                      <a:gd name="connsiteX1" fmla="*/ -3 w 94901"/>
                      <a:gd name="connsiteY1" fmla="*/ 88572 h 122769"/>
                      <a:gd name="connsiteX2" fmla="*/ 31537 w 94901"/>
                      <a:gd name="connsiteY2" fmla="*/ 61363 h 122769"/>
                      <a:gd name="connsiteX3" fmla="*/ -3 w 94901"/>
                      <a:gd name="connsiteY3" fmla="*/ 34154 h 122769"/>
                      <a:gd name="connsiteX4" fmla="*/ -3 w 94901"/>
                      <a:gd name="connsiteY4" fmla="*/ -22 h 122769"/>
                      <a:gd name="connsiteX5" fmla="*/ 31537 w 94901"/>
                      <a:gd name="connsiteY5" fmla="*/ -22 h 122769"/>
                      <a:gd name="connsiteX6" fmla="*/ 31537 w 94901"/>
                      <a:gd name="connsiteY6" fmla="*/ 40933 h 122769"/>
                      <a:gd name="connsiteX7" fmla="*/ 36244 w 94901"/>
                      <a:gd name="connsiteY7" fmla="*/ 50347 h 122769"/>
                      <a:gd name="connsiteX8" fmla="*/ 58557 w 94901"/>
                      <a:gd name="connsiteY8" fmla="*/ 50347 h 122769"/>
                      <a:gd name="connsiteX9" fmla="*/ 63264 w 94901"/>
                      <a:gd name="connsiteY9" fmla="*/ 40933 h 122769"/>
                      <a:gd name="connsiteX10" fmla="*/ 63264 w 94901"/>
                      <a:gd name="connsiteY10" fmla="*/ -22 h 122769"/>
                      <a:gd name="connsiteX11" fmla="*/ 94898 w 94901"/>
                      <a:gd name="connsiteY11" fmla="*/ -22 h 122769"/>
                      <a:gd name="connsiteX12" fmla="*/ 94898 w 94901"/>
                      <a:gd name="connsiteY12" fmla="*/ 34154 h 122769"/>
                      <a:gd name="connsiteX13" fmla="*/ 63264 w 94901"/>
                      <a:gd name="connsiteY13" fmla="*/ 61363 h 122769"/>
                      <a:gd name="connsiteX14" fmla="*/ 94898 w 94901"/>
                      <a:gd name="connsiteY14" fmla="*/ 88666 h 122769"/>
                      <a:gd name="connsiteX15" fmla="*/ 94898 w 94901"/>
                      <a:gd name="connsiteY15" fmla="*/ 122747 h 122769"/>
                      <a:gd name="connsiteX16" fmla="*/ 63264 w 94901"/>
                      <a:gd name="connsiteY16" fmla="*/ 122747 h 122769"/>
                      <a:gd name="connsiteX17" fmla="*/ 63264 w 94901"/>
                      <a:gd name="connsiteY17" fmla="*/ 81793 h 122769"/>
                      <a:gd name="connsiteX18" fmla="*/ 58557 w 94901"/>
                      <a:gd name="connsiteY18" fmla="*/ 72378 h 122769"/>
                      <a:gd name="connsiteX19" fmla="*/ 36244 w 94901"/>
                      <a:gd name="connsiteY19" fmla="*/ 72378 h 122769"/>
                      <a:gd name="connsiteX20" fmla="*/ 31537 w 94901"/>
                      <a:gd name="connsiteY20" fmla="*/ 81793 h 122769"/>
                      <a:gd name="connsiteX21" fmla="*/ 31537 w 94901"/>
                      <a:gd name="connsiteY21" fmla="*/ 122747 h 1227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94901" h="122769">
                        <a:moveTo>
                          <a:pt x="-3" y="122747"/>
                        </a:moveTo>
                        <a:lnTo>
                          <a:pt x="-3" y="88572"/>
                        </a:lnTo>
                        <a:cubicBezTo>
                          <a:pt x="-3" y="72566"/>
                          <a:pt x="10447" y="63528"/>
                          <a:pt x="31537" y="61363"/>
                        </a:cubicBezTo>
                        <a:cubicBezTo>
                          <a:pt x="10447" y="59197"/>
                          <a:pt x="-3" y="50159"/>
                          <a:pt x="-3" y="34154"/>
                        </a:cubicBezTo>
                        <a:lnTo>
                          <a:pt x="-3" y="-22"/>
                        </a:lnTo>
                        <a:lnTo>
                          <a:pt x="31537" y="-22"/>
                        </a:lnTo>
                        <a:lnTo>
                          <a:pt x="31537" y="40933"/>
                        </a:lnTo>
                        <a:cubicBezTo>
                          <a:pt x="31649" y="44610"/>
                          <a:pt x="33372" y="48053"/>
                          <a:pt x="36244" y="50347"/>
                        </a:cubicBezTo>
                        <a:cubicBezTo>
                          <a:pt x="42702" y="55737"/>
                          <a:pt x="52098" y="55737"/>
                          <a:pt x="58557" y="50347"/>
                        </a:cubicBezTo>
                        <a:cubicBezTo>
                          <a:pt x="61466" y="48078"/>
                          <a:pt x="63198" y="44619"/>
                          <a:pt x="63264" y="40933"/>
                        </a:cubicBezTo>
                        <a:lnTo>
                          <a:pt x="63264" y="-22"/>
                        </a:lnTo>
                        <a:lnTo>
                          <a:pt x="94898" y="-22"/>
                        </a:lnTo>
                        <a:lnTo>
                          <a:pt x="94898" y="34154"/>
                        </a:lnTo>
                        <a:cubicBezTo>
                          <a:pt x="94898" y="50159"/>
                          <a:pt x="84354" y="59228"/>
                          <a:pt x="63264" y="61363"/>
                        </a:cubicBezTo>
                        <a:cubicBezTo>
                          <a:pt x="84354" y="63559"/>
                          <a:pt x="94898" y="72661"/>
                          <a:pt x="94898" y="88666"/>
                        </a:cubicBezTo>
                        <a:lnTo>
                          <a:pt x="94898" y="122747"/>
                        </a:lnTo>
                        <a:lnTo>
                          <a:pt x="63264" y="122747"/>
                        </a:lnTo>
                        <a:lnTo>
                          <a:pt x="63264" y="81793"/>
                        </a:lnTo>
                        <a:cubicBezTo>
                          <a:pt x="63236" y="78096"/>
                          <a:pt x="61494" y="74620"/>
                          <a:pt x="58557" y="72378"/>
                        </a:cubicBezTo>
                        <a:cubicBezTo>
                          <a:pt x="52098" y="66988"/>
                          <a:pt x="42702" y="66988"/>
                          <a:pt x="36244" y="72378"/>
                        </a:cubicBezTo>
                        <a:cubicBezTo>
                          <a:pt x="33335" y="74647"/>
                          <a:pt x="31602" y="78106"/>
                          <a:pt x="31537" y="81793"/>
                        </a:cubicBezTo>
                        <a:lnTo>
                          <a:pt x="31537" y="12274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7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EE1C9EAA-B665-4BD8-984D-827DDD9D5FA5}"/>
                      </a:ext>
                    </a:extLst>
                  </p:cNvPr>
                  <p:cNvSpPr/>
                  <p:nvPr/>
                </p:nvSpPr>
                <p:spPr>
                  <a:xfrm>
                    <a:off x="4666633" y="976148"/>
                    <a:ext cx="31633" cy="122392"/>
                  </a:xfrm>
                  <a:custGeom>
                    <a:avLst/>
                    <a:gdLst>
                      <a:gd name="connsiteX0" fmla="*/ -3 w 31633"/>
                      <a:gd name="connsiteY0" fmla="*/ 122371 h 122392"/>
                      <a:gd name="connsiteX1" fmla="*/ -3 w 31633"/>
                      <a:gd name="connsiteY1" fmla="*/ -22 h 122392"/>
                      <a:gd name="connsiteX2" fmla="*/ 31631 w 31633"/>
                      <a:gd name="connsiteY2" fmla="*/ -22 h 122392"/>
                      <a:gd name="connsiteX3" fmla="*/ 31631 w 31633"/>
                      <a:gd name="connsiteY3" fmla="*/ 122371 h 1223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633" h="122392">
                        <a:moveTo>
                          <a:pt x="-3" y="122371"/>
                        </a:moveTo>
                        <a:lnTo>
                          <a:pt x="-3" y="-22"/>
                        </a:lnTo>
                        <a:lnTo>
                          <a:pt x="31631" y="-22"/>
                        </a:lnTo>
                        <a:lnTo>
                          <a:pt x="31631" y="12237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8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94197983-3204-4D5F-9470-C775A7F5603C}"/>
                      </a:ext>
                    </a:extLst>
                  </p:cNvPr>
                  <p:cNvSpPr/>
                  <p:nvPr/>
                </p:nvSpPr>
                <p:spPr>
                  <a:xfrm>
                    <a:off x="3568771" y="1657499"/>
                    <a:ext cx="1859146" cy="364555"/>
                  </a:xfrm>
                  <a:custGeom>
                    <a:avLst/>
                    <a:gdLst>
                      <a:gd name="connsiteX0" fmla="*/ 1490176 w 1859146"/>
                      <a:gd name="connsiteY0" fmla="*/ 348891 h 364555"/>
                      <a:gd name="connsiteX1" fmla="*/ 1859143 w 1859146"/>
                      <a:gd name="connsiteY1" fmla="*/ -22 h 364555"/>
                      <a:gd name="connsiteX2" fmla="*/ -3 w 1859146"/>
                      <a:gd name="connsiteY2" fmla="*/ -22 h 364555"/>
                      <a:gd name="connsiteX3" fmla="*/ 392595 w 1859146"/>
                      <a:gd name="connsiteY3" fmla="*/ 348327 h 364555"/>
                      <a:gd name="connsiteX4" fmla="*/ 1490176 w 1859146"/>
                      <a:gd name="connsiteY4" fmla="*/ 348891 h 3645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59146" h="364555">
                        <a:moveTo>
                          <a:pt x="1490176" y="348891"/>
                        </a:moveTo>
                        <a:lnTo>
                          <a:pt x="1859143" y="-22"/>
                        </a:lnTo>
                        <a:lnTo>
                          <a:pt x="-3" y="-22"/>
                        </a:lnTo>
                        <a:lnTo>
                          <a:pt x="392595" y="348327"/>
                        </a:lnTo>
                        <a:cubicBezTo>
                          <a:pt x="758135" y="369745"/>
                          <a:pt x="1124617" y="369934"/>
                          <a:pt x="1490176" y="348891"/>
                        </a:cubicBezTo>
                        <a:close/>
                      </a:path>
                    </a:pathLst>
                  </a:custGeom>
                  <a:solidFill>
                    <a:srgbClr val="0B274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9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0B11860B-1489-4826-ABBF-1AA0982AFF76}"/>
                      </a:ext>
                    </a:extLst>
                  </p:cNvPr>
                  <p:cNvSpPr/>
                  <p:nvPr/>
                </p:nvSpPr>
                <p:spPr>
                  <a:xfrm>
                    <a:off x="3568771" y="1657499"/>
                    <a:ext cx="1859146" cy="364555"/>
                  </a:xfrm>
                  <a:custGeom>
                    <a:avLst/>
                    <a:gdLst>
                      <a:gd name="connsiteX0" fmla="*/ 1490176 w 1859146"/>
                      <a:gd name="connsiteY0" fmla="*/ 348891 h 364555"/>
                      <a:gd name="connsiteX1" fmla="*/ 1859143 w 1859146"/>
                      <a:gd name="connsiteY1" fmla="*/ -22 h 364555"/>
                      <a:gd name="connsiteX2" fmla="*/ -3 w 1859146"/>
                      <a:gd name="connsiteY2" fmla="*/ -22 h 364555"/>
                      <a:gd name="connsiteX3" fmla="*/ 392595 w 1859146"/>
                      <a:gd name="connsiteY3" fmla="*/ 348327 h 364555"/>
                      <a:gd name="connsiteX4" fmla="*/ 1490176 w 1859146"/>
                      <a:gd name="connsiteY4" fmla="*/ 348891 h 3645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59146" h="364555">
                        <a:moveTo>
                          <a:pt x="1490176" y="348891"/>
                        </a:moveTo>
                        <a:lnTo>
                          <a:pt x="1859143" y="-22"/>
                        </a:lnTo>
                        <a:lnTo>
                          <a:pt x="-3" y="-22"/>
                        </a:lnTo>
                        <a:lnTo>
                          <a:pt x="392595" y="348327"/>
                        </a:lnTo>
                        <a:cubicBezTo>
                          <a:pt x="758135" y="369745"/>
                          <a:pt x="1124617" y="369934"/>
                          <a:pt x="1490176" y="348891"/>
                        </a:cubicBezTo>
                        <a:close/>
                      </a:path>
                    </a:pathLst>
                  </a:custGeom>
                  <a:solidFill>
                    <a:srgbClr val="FFC000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0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240A0583-186E-4B9E-8033-7E71D9032317}"/>
                      </a:ext>
                    </a:extLst>
                  </p:cNvPr>
                  <p:cNvSpPr/>
                  <p:nvPr/>
                </p:nvSpPr>
                <p:spPr>
                  <a:xfrm>
                    <a:off x="3279641" y="1632268"/>
                    <a:ext cx="207973" cy="41990"/>
                  </a:xfrm>
                  <a:custGeom>
                    <a:avLst/>
                    <a:gdLst>
                      <a:gd name="connsiteX0" fmla="*/ 186975 w 207973"/>
                      <a:gd name="connsiteY0" fmla="*/ 41968 h 41990"/>
                      <a:gd name="connsiteX1" fmla="*/ 20992 w 207973"/>
                      <a:gd name="connsiteY1" fmla="*/ 41968 h 41990"/>
                      <a:gd name="connsiteX2" fmla="*/ -3 w 207973"/>
                      <a:gd name="connsiteY2" fmla="*/ 20973 h 41990"/>
                      <a:gd name="connsiteX3" fmla="*/ -3 w 207973"/>
                      <a:gd name="connsiteY3" fmla="*/ 20973 h 41990"/>
                      <a:gd name="connsiteX4" fmla="*/ 20992 w 207973"/>
                      <a:gd name="connsiteY4" fmla="*/ -22 h 41990"/>
                      <a:gd name="connsiteX5" fmla="*/ 186975 w 207973"/>
                      <a:gd name="connsiteY5" fmla="*/ -22 h 41990"/>
                      <a:gd name="connsiteX6" fmla="*/ 207970 w 207973"/>
                      <a:gd name="connsiteY6" fmla="*/ 20973 h 41990"/>
                      <a:gd name="connsiteX7" fmla="*/ 207970 w 207973"/>
                      <a:gd name="connsiteY7" fmla="*/ 20973 h 41990"/>
                      <a:gd name="connsiteX8" fmla="*/ 186975 w 207973"/>
                      <a:gd name="connsiteY8" fmla="*/ 41968 h 419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07973" h="41990">
                        <a:moveTo>
                          <a:pt x="186975" y="41968"/>
                        </a:moveTo>
                        <a:lnTo>
                          <a:pt x="20992" y="41968"/>
                        </a:lnTo>
                        <a:cubicBezTo>
                          <a:pt x="9397" y="41968"/>
                          <a:pt x="-3" y="32572"/>
                          <a:pt x="-3" y="20973"/>
                        </a:cubicBezTo>
                        <a:lnTo>
                          <a:pt x="-3" y="20973"/>
                        </a:lnTo>
                        <a:cubicBezTo>
                          <a:pt x="-3" y="9374"/>
                          <a:pt x="9397" y="-22"/>
                          <a:pt x="20992" y="-22"/>
                        </a:cubicBezTo>
                        <a:lnTo>
                          <a:pt x="186975" y="-22"/>
                        </a:lnTo>
                        <a:cubicBezTo>
                          <a:pt x="198574" y="-22"/>
                          <a:pt x="207970" y="9374"/>
                          <a:pt x="207970" y="20973"/>
                        </a:cubicBezTo>
                        <a:lnTo>
                          <a:pt x="207970" y="20973"/>
                        </a:lnTo>
                        <a:cubicBezTo>
                          <a:pt x="207970" y="32572"/>
                          <a:pt x="198574" y="41968"/>
                          <a:pt x="186975" y="41968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20000"/>
                    </a:srgbClr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1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5835E472-DA26-4C24-BD42-A4D44599263F}"/>
                      </a:ext>
                    </a:extLst>
                  </p:cNvPr>
                  <p:cNvSpPr/>
                  <p:nvPr/>
                </p:nvSpPr>
                <p:spPr>
                  <a:xfrm>
                    <a:off x="5533362" y="1632268"/>
                    <a:ext cx="207973" cy="41990"/>
                  </a:xfrm>
                  <a:custGeom>
                    <a:avLst/>
                    <a:gdLst>
                      <a:gd name="connsiteX0" fmla="*/ 186975 w 207973"/>
                      <a:gd name="connsiteY0" fmla="*/ 41968 h 41990"/>
                      <a:gd name="connsiteX1" fmla="*/ 20992 w 207973"/>
                      <a:gd name="connsiteY1" fmla="*/ 41968 h 41990"/>
                      <a:gd name="connsiteX2" fmla="*/ -3 w 207973"/>
                      <a:gd name="connsiteY2" fmla="*/ 20973 h 41990"/>
                      <a:gd name="connsiteX3" fmla="*/ -3 w 207973"/>
                      <a:gd name="connsiteY3" fmla="*/ 20973 h 41990"/>
                      <a:gd name="connsiteX4" fmla="*/ 20992 w 207973"/>
                      <a:gd name="connsiteY4" fmla="*/ -22 h 41990"/>
                      <a:gd name="connsiteX5" fmla="*/ 186975 w 207973"/>
                      <a:gd name="connsiteY5" fmla="*/ -22 h 41990"/>
                      <a:gd name="connsiteX6" fmla="*/ 207970 w 207973"/>
                      <a:gd name="connsiteY6" fmla="*/ 20973 h 41990"/>
                      <a:gd name="connsiteX7" fmla="*/ 207970 w 207973"/>
                      <a:gd name="connsiteY7" fmla="*/ 20973 h 41990"/>
                      <a:gd name="connsiteX8" fmla="*/ 186975 w 207973"/>
                      <a:gd name="connsiteY8" fmla="*/ 41968 h 419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07973" h="41990">
                        <a:moveTo>
                          <a:pt x="186975" y="41968"/>
                        </a:moveTo>
                        <a:lnTo>
                          <a:pt x="20992" y="41968"/>
                        </a:lnTo>
                        <a:cubicBezTo>
                          <a:pt x="9393" y="41968"/>
                          <a:pt x="-3" y="32572"/>
                          <a:pt x="-3" y="20973"/>
                        </a:cubicBezTo>
                        <a:lnTo>
                          <a:pt x="-3" y="20973"/>
                        </a:lnTo>
                        <a:cubicBezTo>
                          <a:pt x="-3" y="9374"/>
                          <a:pt x="9393" y="-22"/>
                          <a:pt x="20992" y="-22"/>
                        </a:cubicBezTo>
                        <a:lnTo>
                          <a:pt x="186975" y="-22"/>
                        </a:lnTo>
                        <a:cubicBezTo>
                          <a:pt x="198574" y="-22"/>
                          <a:pt x="207970" y="9374"/>
                          <a:pt x="207970" y="20973"/>
                        </a:cubicBezTo>
                        <a:lnTo>
                          <a:pt x="207970" y="20973"/>
                        </a:lnTo>
                        <a:cubicBezTo>
                          <a:pt x="207970" y="32572"/>
                          <a:pt x="198574" y="41968"/>
                          <a:pt x="186975" y="41968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20000"/>
                    </a:srgbClr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2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2D21156D-BAC7-408C-A348-900EBC788874}"/>
                      </a:ext>
                    </a:extLst>
                  </p:cNvPr>
                  <p:cNvSpPr/>
                  <p:nvPr/>
                </p:nvSpPr>
                <p:spPr>
                  <a:xfrm>
                    <a:off x="3320407" y="2030022"/>
                    <a:ext cx="724941" cy="300448"/>
                  </a:xfrm>
                  <a:custGeom>
                    <a:avLst/>
                    <a:gdLst>
                      <a:gd name="connsiteX0" fmla="*/ 620434 w 724941"/>
                      <a:gd name="connsiteY0" fmla="*/ 22219 h 300448"/>
                      <a:gd name="connsiteX1" fmla="*/ 84730 w 724941"/>
                      <a:gd name="connsiteY1" fmla="*/ 6025 h 300448"/>
                      <a:gd name="connsiteX2" fmla="*/ -3 w 724941"/>
                      <a:gd name="connsiteY2" fmla="*/ 203737 h 300448"/>
                      <a:gd name="connsiteX3" fmla="*/ 724939 w 724941"/>
                      <a:gd name="connsiteY3" fmla="*/ 300427 h 3004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24941" h="300448">
                        <a:moveTo>
                          <a:pt x="620434" y="22219"/>
                        </a:moveTo>
                        <a:cubicBezTo>
                          <a:pt x="620434" y="22219"/>
                          <a:pt x="137171" y="-14028"/>
                          <a:pt x="84730" y="6025"/>
                        </a:cubicBezTo>
                        <a:cubicBezTo>
                          <a:pt x="32290" y="26079"/>
                          <a:pt x="-3" y="203737"/>
                          <a:pt x="-3" y="203737"/>
                        </a:cubicBezTo>
                        <a:lnTo>
                          <a:pt x="724939" y="30042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3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A4A54B92-0DDD-4ADE-B37F-5296BECAF580}"/>
                      </a:ext>
                    </a:extLst>
                  </p:cNvPr>
                  <p:cNvSpPr/>
                  <p:nvPr/>
                </p:nvSpPr>
                <p:spPr>
                  <a:xfrm>
                    <a:off x="4979583" y="2030022"/>
                    <a:ext cx="724941" cy="300448"/>
                  </a:xfrm>
                  <a:custGeom>
                    <a:avLst/>
                    <a:gdLst>
                      <a:gd name="connsiteX0" fmla="*/ 104501 w 724941"/>
                      <a:gd name="connsiteY0" fmla="*/ 22219 h 300448"/>
                      <a:gd name="connsiteX1" fmla="*/ 640205 w 724941"/>
                      <a:gd name="connsiteY1" fmla="*/ 6025 h 300448"/>
                      <a:gd name="connsiteX2" fmla="*/ 724939 w 724941"/>
                      <a:gd name="connsiteY2" fmla="*/ 203737 h 300448"/>
                      <a:gd name="connsiteX3" fmla="*/ -3 w 724941"/>
                      <a:gd name="connsiteY3" fmla="*/ 300427 h 3004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24941" h="300448">
                        <a:moveTo>
                          <a:pt x="104501" y="22219"/>
                        </a:moveTo>
                        <a:cubicBezTo>
                          <a:pt x="104501" y="22219"/>
                          <a:pt x="587858" y="-14028"/>
                          <a:pt x="640205" y="6025"/>
                        </a:cubicBezTo>
                        <a:cubicBezTo>
                          <a:pt x="692551" y="26079"/>
                          <a:pt x="724939" y="203737"/>
                          <a:pt x="724939" y="203737"/>
                        </a:cubicBezTo>
                        <a:lnTo>
                          <a:pt x="-3" y="30042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4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1266DBCB-BEC6-42A6-B869-C22F432666AF}"/>
                      </a:ext>
                    </a:extLst>
                  </p:cNvPr>
                  <p:cNvSpPr/>
                  <p:nvPr/>
                </p:nvSpPr>
                <p:spPr>
                  <a:xfrm>
                    <a:off x="3802917" y="1535794"/>
                    <a:ext cx="510452" cy="121705"/>
                  </a:xfrm>
                  <a:custGeom>
                    <a:avLst/>
                    <a:gdLst>
                      <a:gd name="connsiteX0" fmla="*/ 510186 w 510452"/>
                      <a:gd name="connsiteY0" fmla="*/ 121684 h 121705"/>
                      <a:gd name="connsiteX1" fmla="*/ -3 w 510452"/>
                      <a:gd name="connsiteY1" fmla="*/ 121684 h 121705"/>
                      <a:gd name="connsiteX2" fmla="*/ 4045 w 510452"/>
                      <a:gd name="connsiteY2" fmla="*/ 116223 h 121705"/>
                      <a:gd name="connsiteX3" fmla="*/ 48766 w 510452"/>
                      <a:gd name="connsiteY3" fmla="*/ 70938 h 121705"/>
                      <a:gd name="connsiteX4" fmla="*/ 94804 w 510452"/>
                      <a:gd name="connsiteY4" fmla="*/ 33938 h 121705"/>
                      <a:gd name="connsiteX5" fmla="*/ 212584 w 510452"/>
                      <a:gd name="connsiteY5" fmla="*/ 5693 h 121705"/>
                      <a:gd name="connsiteX6" fmla="*/ 218609 w 510452"/>
                      <a:gd name="connsiteY6" fmla="*/ 5034 h 121705"/>
                      <a:gd name="connsiteX7" fmla="*/ 222846 w 510452"/>
                      <a:gd name="connsiteY7" fmla="*/ 5034 h 121705"/>
                      <a:gd name="connsiteX8" fmla="*/ 233108 w 510452"/>
                      <a:gd name="connsiteY8" fmla="*/ 3622 h 121705"/>
                      <a:gd name="connsiteX9" fmla="*/ 312004 w 510452"/>
                      <a:gd name="connsiteY9" fmla="*/ 892 h 121705"/>
                      <a:gd name="connsiteX10" fmla="*/ 321419 w 510452"/>
                      <a:gd name="connsiteY10" fmla="*/ 1551 h 121705"/>
                      <a:gd name="connsiteX11" fmla="*/ 321419 w 510452"/>
                      <a:gd name="connsiteY11" fmla="*/ 1551 h 121705"/>
                      <a:gd name="connsiteX12" fmla="*/ 386852 w 510452"/>
                      <a:gd name="connsiteY12" fmla="*/ 12566 h 121705"/>
                      <a:gd name="connsiteX13" fmla="*/ 464336 w 510452"/>
                      <a:gd name="connsiteY13" fmla="*/ 47777 h 121705"/>
                      <a:gd name="connsiteX14" fmla="*/ 509527 w 510452"/>
                      <a:gd name="connsiteY14" fmla="*/ 116882 h 121705"/>
                      <a:gd name="connsiteX15" fmla="*/ 510186 w 510452"/>
                      <a:gd name="connsiteY15" fmla="*/ 121684 h 1217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510452" h="121705">
                        <a:moveTo>
                          <a:pt x="510186" y="121684"/>
                        </a:moveTo>
                        <a:lnTo>
                          <a:pt x="-3" y="121684"/>
                        </a:lnTo>
                        <a:cubicBezTo>
                          <a:pt x="1202" y="119763"/>
                          <a:pt x="2558" y="117937"/>
                          <a:pt x="4045" y="116223"/>
                        </a:cubicBezTo>
                        <a:cubicBezTo>
                          <a:pt x="18139" y="100340"/>
                          <a:pt x="33062" y="85230"/>
                          <a:pt x="48766" y="70938"/>
                        </a:cubicBezTo>
                        <a:cubicBezTo>
                          <a:pt x="62577" y="56806"/>
                          <a:pt x="78027" y="44379"/>
                          <a:pt x="94804" y="33938"/>
                        </a:cubicBezTo>
                        <a:cubicBezTo>
                          <a:pt x="130674" y="13037"/>
                          <a:pt x="171158" y="10683"/>
                          <a:pt x="212584" y="5693"/>
                        </a:cubicBezTo>
                        <a:lnTo>
                          <a:pt x="218609" y="5034"/>
                        </a:lnTo>
                        <a:lnTo>
                          <a:pt x="222846" y="5034"/>
                        </a:lnTo>
                        <a:lnTo>
                          <a:pt x="233108" y="3622"/>
                        </a:lnTo>
                        <a:cubicBezTo>
                          <a:pt x="259243" y="-22"/>
                          <a:pt x="285680" y="-935"/>
                          <a:pt x="312004" y="892"/>
                        </a:cubicBezTo>
                        <a:lnTo>
                          <a:pt x="321419" y="1551"/>
                        </a:lnTo>
                        <a:lnTo>
                          <a:pt x="321419" y="1551"/>
                        </a:lnTo>
                        <a:cubicBezTo>
                          <a:pt x="343487" y="3471"/>
                          <a:pt x="365367" y="7152"/>
                          <a:pt x="386852" y="12566"/>
                        </a:cubicBezTo>
                        <a:cubicBezTo>
                          <a:pt x="414965" y="18431"/>
                          <a:pt x="441430" y="30454"/>
                          <a:pt x="464336" y="47777"/>
                        </a:cubicBezTo>
                        <a:cubicBezTo>
                          <a:pt x="486837" y="66607"/>
                          <a:pt x="498512" y="92215"/>
                          <a:pt x="509527" y="116882"/>
                        </a:cubicBezTo>
                        <a:cubicBezTo>
                          <a:pt x="510459" y="118304"/>
                          <a:pt x="510695" y="120065"/>
                          <a:pt x="510186" y="121684"/>
                        </a:cubicBezTo>
                        <a:close/>
                      </a:path>
                    </a:pathLst>
                  </a:custGeom>
                  <a:solidFill>
                    <a:srgbClr val="0B274F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5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64037F08-37C6-4B37-B329-9FADD9483333}"/>
                      </a:ext>
                    </a:extLst>
                  </p:cNvPr>
                  <p:cNvSpPr/>
                  <p:nvPr/>
                </p:nvSpPr>
                <p:spPr>
                  <a:xfrm>
                    <a:off x="3802917" y="1535794"/>
                    <a:ext cx="510452" cy="121705"/>
                  </a:xfrm>
                  <a:custGeom>
                    <a:avLst/>
                    <a:gdLst>
                      <a:gd name="connsiteX0" fmla="*/ 510186 w 510452"/>
                      <a:gd name="connsiteY0" fmla="*/ 121684 h 121705"/>
                      <a:gd name="connsiteX1" fmla="*/ -3 w 510452"/>
                      <a:gd name="connsiteY1" fmla="*/ 121684 h 121705"/>
                      <a:gd name="connsiteX2" fmla="*/ 4045 w 510452"/>
                      <a:gd name="connsiteY2" fmla="*/ 116223 h 121705"/>
                      <a:gd name="connsiteX3" fmla="*/ 48766 w 510452"/>
                      <a:gd name="connsiteY3" fmla="*/ 70938 h 121705"/>
                      <a:gd name="connsiteX4" fmla="*/ 94804 w 510452"/>
                      <a:gd name="connsiteY4" fmla="*/ 33938 h 121705"/>
                      <a:gd name="connsiteX5" fmla="*/ 212584 w 510452"/>
                      <a:gd name="connsiteY5" fmla="*/ 5693 h 121705"/>
                      <a:gd name="connsiteX6" fmla="*/ 218609 w 510452"/>
                      <a:gd name="connsiteY6" fmla="*/ 5034 h 121705"/>
                      <a:gd name="connsiteX7" fmla="*/ 222846 w 510452"/>
                      <a:gd name="connsiteY7" fmla="*/ 5034 h 121705"/>
                      <a:gd name="connsiteX8" fmla="*/ 233108 w 510452"/>
                      <a:gd name="connsiteY8" fmla="*/ 3622 h 121705"/>
                      <a:gd name="connsiteX9" fmla="*/ 312004 w 510452"/>
                      <a:gd name="connsiteY9" fmla="*/ 892 h 121705"/>
                      <a:gd name="connsiteX10" fmla="*/ 321419 w 510452"/>
                      <a:gd name="connsiteY10" fmla="*/ 1551 h 121705"/>
                      <a:gd name="connsiteX11" fmla="*/ 321419 w 510452"/>
                      <a:gd name="connsiteY11" fmla="*/ 1551 h 121705"/>
                      <a:gd name="connsiteX12" fmla="*/ 386852 w 510452"/>
                      <a:gd name="connsiteY12" fmla="*/ 12566 h 121705"/>
                      <a:gd name="connsiteX13" fmla="*/ 464336 w 510452"/>
                      <a:gd name="connsiteY13" fmla="*/ 47777 h 121705"/>
                      <a:gd name="connsiteX14" fmla="*/ 509527 w 510452"/>
                      <a:gd name="connsiteY14" fmla="*/ 116882 h 121705"/>
                      <a:gd name="connsiteX15" fmla="*/ 510186 w 510452"/>
                      <a:gd name="connsiteY15" fmla="*/ 121684 h 1217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510452" h="121705">
                        <a:moveTo>
                          <a:pt x="510186" y="121684"/>
                        </a:moveTo>
                        <a:lnTo>
                          <a:pt x="-3" y="121684"/>
                        </a:lnTo>
                        <a:cubicBezTo>
                          <a:pt x="1202" y="119763"/>
                          <a:pt x="2558" y="117937"/>
                          <a:pt x="4045" y="116223"/>
                        </a:cubicBezTo>
                        <a:cubicBezTo>
                          <a:pt x="18139" y="100340"/>
                          <a:pt x="33062" y="85230"/>
                          <a:pt x="48766" y="70938"/>
                        </a:cubicBezTo>
                        <a:cubicBezTo>
                          <a:pt x="62577" y="56806"/>
                          <a:pt x="78027" y="44379"/>
                          <a:pt x="94804" y="33938"/>
                        </a:cubicBezTo>
                        <a:cubicBezTo>
                          <a:pt x="130674" y="13037"/>
                          <a:pt x="171158" y="10683"/>
                          <a:pt x="212584" y="5693"/>
                        </a:cubicBezTo>
                        <a:lnTo>
                          <a:pt x="218609" y="5034"/>
                        </a:lnTo>
                        <a:lnTo>
                          <a:pt x="222846" y="5034"/>
                        </a:lnTo>
                        <a:lnTo>
                          <a:pt x="233108" y="3622"/>
                        </a:lnTo>
                        <a:cubicBezTo>
                          <a:pt x="259243" y="-22"/>
                          <a:pt x="285680" y="-935"/>
                          <a:pt x="312004" y="892"/>
                        </a:cubicBezTo>
                        <a:lnTo>
                          <a:pt x="321419" y="1551"/>
                        </a:lnTo>
                        <a:lnTo>
                          <a:pt x="321419" y="1551"/>
                        </a:lnTo>
                        <a:cubicBezTo>
                          <a:pt x="343487" y="3471"/>
                          <a:pt x="365367" y="7152"/>
                          <a:pt x="386852" y="12566"/>
                        </a:cubicBezTo>
                        <a:cubicBezTo>
                          <a:pt x="414965" y="18431"/>
                          <a:pt x="441430" y="30454"/>
                          <a:pt x="464336" y="47777"/>
                        </a:cubicBezTo>
                        <a:cubicBezTo>
                          <a:pt x="486837" y="66607"/>
                          <a:pt x="498512" y="92215"/>
                          <a:pt x="509527" y="116882"/>
                        </a:cubicBezTo>
                        <a:cubicBezTo>
                          <a:pt x="510459" y="118304"/>
                          <a:pt x="510695" y="120065"/>
                          <a:pt x="510186" y="121684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6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A1386896-610A-43B8-A669-148E9950DF12}"/>
                      </a:ext>
                    </a:extLst>
                  </p:cNvPr>
                  <p:cNvSpPr/>
                  <p:nvPr/>
                </p:nvSpPr>
                <p:spPr>
                  <a:xfrm>
                    <a:off x="4014232" y="1500377"/>
                    <a:ext cx="112420" cy="101010"/>
                  </a:xfrm>
                  <a:custGeom>
                    <a:avLst/>
                    <a:gdLst>
                      <a:gd name="connsiteX0" fmla="*/ 3246 w 112420"/>
                      <a:gd name="connsiteY0" fmla="*/ 78675 h 101010"/>
                      <a:gd name="connsiteX1" fmla="*/ 23111 w 112420"/>
                      <a:gd name="connsiteY1" fmla="*/ 94021 h 101010"/>
                      <a:gd name="connsiteX2" fmla="*/ 82989 w 112420"/>
                      <a:gd name="connsiteY2" fmla="*/ 100235 h 101010"/>
                      <a:gd name="connsiteX3" fmla="*/ 102572 w 112420"/>
                      <a:gd name="connsiteY3" fmla="*/ 95904 h 101010"/>
                      <a:gd name="connsiteX4" fmla="*/ 111987 w 112420"/>
                      <a:gd name="connsiteY4" fmla="*/ 74909 h 101010"/>
                      <a:gd name="connsiteX5" fmla="*/ 102572 w 112420"/>
                      <a:gd name="connsiteY5" fmla="*/ 15030 h 101010"/>
                      <a:gd name="connsiteX6" fmla="*/ 97111 w 112420"/>
                      <a:gd name="connsiteY6" fmla="*/ 7028 h 101010"/>
                      <a:gd name="connsiteX7" fmla="*/ 88450 w 112420"/>
                      <a:gd name="connsiteY7" fmla="*/ 4109 h 101010"/>
                      <a:gd name="connsiteX8" fmla="*/ 12378 w 112420"/>
                      <a:gd name="connsiteY8" fmla="*/ 9758 h 101010"/>
                      <a:gd name="connsiteX9" fmla="*/ 3246 w 112420"/>
                      <a:gd name="connsiteY9" fmla="*/ 78675 h 101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2420" h="101010">
                        <a:moveTo>
                          <a:pt x="3246" y="78675"/>
                        </a:moveTo>
                        <a:cubicBezTo>
                          <a:pt x="7915" y="85915"/>
                          <a:pt x="14929" y="91328"/>
                          <a:pt x="23111" y="94021"/>
                        </a:cubicBezTo>
                        <a:cubicBezTo>
                          <a:pt x="42440" y="100159"/>
                          <a:pt x="62813" y="102278"/>
                          <a:pt x="82989" y="100235"/>
                        </a:cubicBezTo>
                        <a:cubicBezTo>
                          <a:pt x="89787" y="100536"/>
                          <a:pt x="96537" y="99039"/>
                          <a:pt x="102572" y="95904"/>
                        </a:cubicBezTo>
                        <a:cubicBezTo>
                          <a:pt x="108729" y="90688"/>
                          <a:pt x="112184" y="82968"/>
                          <a:pt x="111987" y="74909"/>
                        </a:cubicBezTo>
                        <a:cubicBezTo>
                          <a:pt x="113663" y="54488"/>
                          <a:pt x="110433" y="33954"/>
                          <a:pt x="102572" y="15030"/>
                        </a:cubicBezTo>
                        <a:cubicBezTo>
                          <a:pt x="101555" y="11895"/>
                          <a:pt x="99663" y="9118"/>
                          <a:pt x="97111" y="7028"/>
                        </a:cubicBezTo>
                        <a:cubicBezTo>
                          <a:pt x="94466" y="5455"/>
                          <a:pt x="91510" y="4467"/>
                          <a:pt x="88450" y="4109"/>
                        </a:cubicBezTo>
                        <a:cubicBezTo>
                          <a:pt x="69620" y="626"/>
                          <a:pt x="27724" y="-5306"/>
                          <a:pt x="12378" y="9758"/>
                        </a:cubicBezTo>
                        <a:cubicBezTo>
                          <a:pt x="1268" y="20962"/>
                          <a:pt x="-3816" y="65588"/>
                          <a:pt x="3246" y="78675"/>
                        </a:cubicBezTo>
                        <a:close/>
                      </a:path>
                    </a:pathLst>
                  </a:custGeom>
                  <a:solidFill>
                    <a:srgbClr val="F7AD7E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7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1967C471-0713-4A24-9426-C442DF608342}"/>
                      </a:ext>
                    </a:extLst>
                  </p:cNvPr>
                  <p:cNvSpPr/>
                  <p:nvPr/>
                </p:nvSpPr>
                <p:spPr>
                  <a:xfrm>
                    <a:off x="4021110" y="1519128"/>
                    <a:ext cx="95958" cy="66207"/>
                  </a:xfrm>
                  <a:custGeom>
                    <a:avLst/>
                    <a:gdLst>
                      <a:gd name="connsiteX0" fmla="*/ 22541 w 95958"/>
                      <a:gd name="connsiteY0" fmla="*/ 58135 h 66207"/>
                      <a:gd name="connsiteX1" fmla="*/ 82608 w 95958"/>
                      <a:gd name="connsiteY1" fmla="*/ 58135 h 66207"/>
                      <a:gd name="connsiteX2" fmla="*/ 92776 w 95958"/>
                      <a:gd name="connsiteY2" fmla="*/ 48721 h 66207"/>
                      <a:gd name="connsiteX3" fmla="*/ 95506 w 95958"/>
                      <a:gd name="connsiteY3" fmla="*/ 28949 h 66207"/>
                      <a:gd name="connsiteX4" fmla="*/ 88915 w 95958"/>
                      <a:gd name="connsiteY4" fmla="*/ 10120 h 66207"/>
                      <a:gd name="connsiteX5" fmla="*/ 74417 w 95958"/>
                      <a:gd name="connsiteY5" fmla="*/ 3812 h 66207"/>
                      <a:gd name="connsiteX6" fmla="*/ 24895 w 95958"/>
                      <a:gd name="connsiteY6" fmla="*/ 893 h 66207"/>
                      <a:gd name="connsiteX7" fmla="*/ 4276 w 95958"/>
                      <a:gd name="connsiteY7" fmla="*/ 8049 h 66207"/>
                      <a:gd name="connsiteX8" fmla="*/ 604 w 95958"/>
                      <a:gd name="connsiteY8" fmla="*/ 25278 h 66207"/>
                      <a:gd name="connsiteX9" fmla="*/ 22541 w 95958"/>
                      <a:gd name="connsiteY9" fmla="*/ 58135 h 662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958" h="66207">
                        <a:moveTo>
                          <a:pt x="22541" y="58135"/>
                        </a:moveTo>
                        <a:cubicBezTo>
                          <a:pt x="41126" y="68868"/>
                          <a:pt x="64023" y="68868"/>
                          <a:pt x="82608" y="58135"/>
                        </a:cubicBezTo>
                        <a:cubicBezTo>
                          <a:pt x="86722" y="55895"/>
                          <a:pt x="90224" y="52656"/>
                          <a:pt x="92776" y="48721"/>
                        </a:cubicBezTo>
                        <a:cubicBezTo>
                          <a:pt x="95657" y="42554"/>
                          <a:pt x="96617" y="35662"/>
                          <a:pt x="95506" y="28949"/>
                        </a:cubicBezTo>
                        <a:cubicBezTo>
                          <a:pt x="95779" y="22067"/>
                          <a:pt x="93425" y="15326"/>
                          <a:pt x="88915" y="10120"/>
                        </a:cubicBezTo>
                        <a:cubicBezTo>
                          <a:pt x="84707" y="6806"/>
                          <a:pt x="79708" y="4640"/>
                          <a:pt x="74417" y="3812"/>
                        </a:cubicBezTo>
                        <a:cubicBezTo>
                          <a:pt x="58195" y="18"/>
                          <a:pt x="41446" y="-971"/>
                          <a:pt x="24895" y="893"/>
                        </a:cubicBezTo>
                        <a:cubicBezTo>
                          <a:pt x="17457" y="1148"/>
                          <a:pt x="10273" y="3642"/>
                          <a:pt x="4276" y="8049"/>
                        </a:cubicBezTo>
                        <a:cubicBezTo>
                          <a:pt x="444" y="12916"/>
                          <a:pt x="-911" y="19280"/>
                          <a:pt x="604" y="25278"/>
                        </a:cubicBezTo>
                        <a:cubicBezTo>
                          <a:pt x="2544" y="38995"/>
                          <a:pt x="10612" y="51084"/>
                          <a:pt x="22541" y="5813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8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76BD53D2-69C0-498E-A8AB-9A7AE95D13FD}"/>
                      </a:ext>
                    </a:extLst>
                  </p:cNvPr>
                  <p:cNvSpPr/>
                  <p:nvPr/>
                </p:nvSpPr>
                <p:spPr>
                  <a:xfrm>
                    <a:off x="3988523" y="1308528"/>
                    <a:ext cx="182195" cy="250354"/>
                  </a:xfrm>
                  <a:custGeom>
                    <a:avLst/>
                    <a:gdLst>
                      <a:gd name="connsiteX0" fmla="*/ 169330 w 182195"/>
                      <a:gd name="connsiteY0" fmla="*/ 185508 h 250354"/>
                      <a:gd name="connsiteX1" fmla="*/ 85726 w 182195"/>
                      <a:gd name="connsiteY1" fmla="*/ 250188 h 250354"/>
                      <a:gd name="connsiteX2" fmla="*/ 14174 w 182195"/>
                      <a:gd name="connsiteY2" fmla="*/ 201890 h 250354"/>
                      <a:gd name="connsiteX3" fmla="*/ 51 w 182195"/>
                      <a:gd name="connsiteY3" fmla="*/ 66034 h 250354"/>
                      <a:gd name="connsiteX4" fmla="*/ 4853 w 182195"/>
                      <a:gd name="connsiteY4" fmla="*/ 45227 h 250354"/>
                      <a:gd name="connsiteX5" fmla="*/ 25660 w 182195"/>
                      <a:gd name="connsiteY5" fmla="*/ 7003 h 250354"/>
                      <a:gd name="connsiteX6" fmla="*/ 162269 w 182195"/>
                      <a:gd name="connsiteY6" fmla="*/ 9639 h 250354"/>
                      <a:gd name="connsiteX7" fmla="*/ 178462 w 182195"/>
                      <a:gd name="connsiteY7" fmla="*/ 43721 h 250354"/>
                      <a:gd name="connsiteX8" fmla="*/ 180439 w 182195"/>
                      <a:gd name="connsiteY8" fmla="*/ 51629 h 250354"/>
                      <a:gd name="connsiteX9" fmla="*/ 169330 w 182195"/>
                      <a:gd name="connsiteY9" fmla="*/ 185508 h 2503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82195" h="250354">
                        <a:moveTo>
                          <a:pt x="169330" y="185508"/>
                        </a:moveTo>
                        <a:cubicBezTo>
                          <a:pt x="154718" y="220220"/>
                          <a:pt x="123000" y="244765"/>
                          <a:pt x="85726" y="250188"/>
                        </a:cubicBezTo>
                        <a:cubicBezTo>
                          <a:pt x="57482" y="252353"/>
                          <a:pt x="26507" y="229946"/>
                          <a:pt x="14174" y="201890"/>
                        </a:cubicBezTo>
                        <a:cubicBezTo>
                          <a:pt x="1840" y="173834"/>
                          <a:pt x="51" y="66034"/>
                          <a:pt x="51" y="66034"/>
                        </a:cubicBezTo>
                        <a:cubicBezTo>
                          <a:pt x="-335" y="58784"/>
                          <a:pt x="1332" y="51573"/>
                          <a:pt x="4853" y="45227"/>
                        </a:cubicBezTo>
                        <a:cubicBezTo>
                          <a:pt x="8713" y="37413"/>
                          <a:pt x="15868" y="13876"/>
                          <a:pt x="25660" y="7003"/>
                        </a:cubicBezTo>
                        <a:cubicBezTo>
                          <a:pt x="70738" y="-3184"/>
                          <a:pt x="117614" y="-2280"/>
                          <a:pt x="162269" y="9639"/>
                        </a:cubicBezTo>
                        <a:cubicBezTo>
                          <a:pt x="171684" y="16794"/>
                          <a:pt x="176391" y="39484"/>
                          <a:pt x="178462" y="43721"/>
                        </a:cubicBezTo>
                        <a:cubicBezTo>
                          <a:pt x="179479" y="46253"/>
                          <a:pt x="180138" y="48918"/>
                          <a:pt x="180439" y="51629"/>
                        </a:cubicBezTo>
                        <a:cubicBezTo>
                          <a:pt x="184205" y="77614"/>
                          <a:pt x="182511" y="151803"/>
                          <a:pt x="169330" y="185508"/>
                        </a:cubicBezTo>
                        <a:close/>
                      </a:path>
                    </a:pathLst>
                  </a:custGeom>
                  <a:solidFill>
                    <a:srgbClr val="F7AD7E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9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7CC0A6FF-1490-4987-92C8-C41316B3FBCD}"/>
                      </a:ext>
                    </a:extLst>
                  </p:cNvPr>
                  <p:cNvSpPr/>
                  <p:nvPr/>
                </p:nvSpPr>
                <p:spPr>
                  <a:xfrm>
                    <a:off x="3966296" y="1401320"/>
                    <a:ext cx="38319" cy="55336"/>
                  </a:xfrm>
                  <a:custGeom>
                    <a:avLst/>
                    <a:gdLst>
                      <a:gd name="connsiteX0" fmla="*/ 20961 w 38319"/>
                      <a:gd name="connsiteY0" fmla="*/ 2051 h 55336"/>
                      <a:gd name="connsiteX1" fmla="*/ 2131 w 38319"/>
                      <a:gd name="connsiteY1" fmla="*/ 4687 h 55336"/>
                      <a:gd name="connsiteX2" fmla="*/ 154 w 38319"/>
                      <a:gd name="connsiteY2" fmla="*/ 14855 h 55336"/>
                      <a:gd name="connsiteX3" fmla="*/ 1096 w 38319"/>
                      <a:gd name="connsiteY3" fmla="*/ 25306 h 55336"/>
                      <a:gd name="connsiteX4" fmla="*/ 16442 w 38319"/>
                      <a:gd name="connsiteY4" fmla="*/ 49690 h 55336"/>
                      <a:gd name="connsiteX5" fmla="*/ 22750 w 38319"/>
                      <a:gd name="connsiteY5" fmla="*/ 54209 h 55336"/>
                      <a:gd name="connsiteX6" fmla="*/ 30658 w 38319"/>
                      <a:gd name="connsiteY6" fmla="*/ 54868 h 55336"/>
                      <a:gd name="connsiteX7" fmla="*/ 37531 w 38319"/>
                      <a:gd name="connsiteY7" fmla="*/ 45453 h 55336"/>
                      <a:gd name="connsiteX8" fmla="*/ 34989 w 38319"/>
                      <a:gd name="connsiteY8" fmla="*/ 19751 h 55336"/>
                      <a:gd name="connsiteX9" fmla="*/ 20961 w 38319"/>
                      <a:gd name="connsiteY9" fmla="*/ 2051 h 553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319" h="55336">
                        <a:moveTo>
                          <a:pt x="20961" y="2051"/>
                        </a:moveTo>
                        <a:cubicBezTo>
                          <a:pt x="14822" y="-1498"/>
                          <a:pt x="7055" y="-406"/>
                          <a:pt x="2131" y="4687"/>
                        </a:cubicBezTo>
                        <a:cubicBezTo>
                          <a:pt x="352" y="7756"/>
                          <a:pt x="-345" y="11343"/>
                          <a:pt x="154" y="14855"/>
                        </a:cubicBezTo>
                        <a:cubicBezTo>
                          <a:pt x="145" y="18357"/>
                          <a:pt x="455" y="21860"/>
                          <a:pt x="1096" y="25306"/>
                        </a:cubicBezTo>
                        <a:cubicBezTo>
                          <a:pt x="3637" y="34796"/>
                          <a:pt x="8985" y="43297"/>
                          <a:pt x="16442" y="49690"/>
                        </a:cubicBezTo>
                        <a:cubicBezTo>
                          <a:pt x="18306" y="51507"/>
                          <a:pt x="20434" y="53032"/>
                          <a:pt x="22750" y="54209"/>
                        </a:cubicBezTo>
                        <a:cubicBezTo>
                          <a:pt x="25216" y="55405"/>
                          <a:pt x="28031" y="55640"/>
                          <a:pt x="30658" y="54868"/>
                        </a:cubicBezTo>
                        <a:cubicBezTo>
                          <a:pt x="34443" y="53145"/>
                          <a:pt x="37051" y="49577"/>
                          <a:pt x="37531" y="45453"/>
                        </a:cubicBezTo>
                        <a:cubicBezTo>
                          <a:pt x="39141" y="36820"/>
                          <a:pt x="38265" y="27904"/>
                          <a:pt x="34989" y="19751"/>
                        </a:cubicBezTo>
                        <a:cubicBezTo>
                          <a:pt x="32419" y="12454"/>
                          <a:pt x="27476" y="6222"/>
                          <a:pt x="20961" y="2051"/>
                        </a:cubicBezTo>
                        <a:close/>
                      </a:path>
                    </a:pathLst>
                  </a:custGeom>
                  <a:solidFill>
                    <a:srgbClr val="F7AD7E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0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6AD38AE6-4836-4721-AFD6-BCCEA28BC82A}"/>
                      </a:ext>
                    </a:extLst>
                  </p:cNvPr>
                  <p:cNvSpPr/>
                  <p:nvPr/>
                </p:nvSpPr>
                <p:spPr>
                  <a:xfrm>
                    <a:off x="4157166" y="1399707"/>
                    <a:ext cx="38389" cy="55313"/>
                  </a:xfrm>
                  <a:custGeom>
                    <a:avLst/>
                    <a:gdLst>
                      <a:gd name="connsiteX0" fmla="*/ 17351 w 38389"/>
                      <a:gd name="connsiteY0" fmla="*/ 2063 h 55313"/>
                      <a:gd name="connsiteX1" fmla="*/ 36181 w 38389"/>
                      <a:gd name="connsiteY1" fmla="*/ 4605 h 55313"/>
                      <a:gd name="connsiteX2" fmla="*/ 38252 w 38389"/>
                      <a:gd name="connsiteY2" fmla="*/ 14773 h 55313"/>
                      <a:gd name="connsiteX3" fmla="*/ 37216 w 38389"/>
                      <a:gd name="connsiteY3" fmla="*/ 25224 h 55313"/>
                      <a:gd name="connsiteX4" fmla="*/ 21870 w 38389"/>
                      <a:gd name="connsiteY4" fmla="*/ 49608 h 55313"/>
                      <a:gd name="connsiteX5" fmla="*/ 15562 w 38389"/>
                      <a:gd name="connsiteY5" fmla="*/ 54127 h 55313"/>
                      <a:gd name="connsiteX6" fmla="*/ 7654 w 38389"/>
                      <a:gd name="connsiteY6" fmla="*/ 54881 h 55313"/>
                      <a:gd name="connsiteX7" fmla="*/ 781 w 38389"/>
                      <a:gd name="connsiteY7" fmla="*/ 44901 h 55313"/>
                      <a:gd name="connsiteX8" fmla="*/ 3417 w 38389"/>
                      <a:gd name="connsiteY8" fmla="*/ 19198 h 55313"/>
                      <a:gd name="connsiteX9" fmla="*/ 17351 w 38389"/>
                      <a:gd name="connsiteY9" fmla="*/ 2063 h 553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389" h="55313">
                        <a:moveTo>
                          <a:pt x="17351" y="2063"/>
                        </a:moveTo>
                        <a:cubicBezTo>
                          <a:pt x="23471" y="-1477"/>
                          <a:pt x="31219" y="-432"/>
                          <a:pt x="36181" y="4605"/>
                        </a:cubicBezTo>
                        <a:cubicBezTo>
                          <a:pt x="37979" y="7675"/>
                          <a:pt x="38713" y="11252"/>
                          <a:pt x="38252" y="14773"/>
                        </a:cubicBezTo>
                        <a:cubicBezTo>
                          <a:pt x="38233" y="18285"/>
                          <a:pt x="37885" y="21778"/>
                          <a:pt x="37216" y="25224"/>
                        </a:cubicBezTo>
                        <a:cubicBezTo>
                          <a:pt x="34674" y="34714"/>
                          <a:pt x="29327" y="43216"/>
                          <a:pt x="21870" y="49608"/>
                        </a:cubicBezTo>
                        <a:cubicBezTo>
                          <a:pt x="20062" y="51482"/>
                          <a:pt x="17925" y="53016"/>
                          <a:pt x="15562" y="54127"/>
                        </a:cubicBezTo>
                        <a:cubicBezTo>
                          <a:pt x="13114" y="55351"/>
                          <a:pt x="10290" y="55624"/>
                          <a:pt x="7654" y="54881"/>
                        </a:cubicBezTo>
                        <a:cubicBezTo>
                          <a:pt x="3718" y="53045"/>
                          <a:pt x="1092" y="49232"/>
                          <a:pt x="781" y="44901"/>
                        </a:cubicBezTo>
                        <a:cubicBezTo>
                          <a:pt x="-848" y="36258"/>
                          <a:pt x="75" y="27333"/>
                          <a:pt x="3417" y="19198"/>
                        </a:cubicBezTo>
                        <a:cubicBezTo>
                          <a:pt x="6044" y="12109"/>
                          <a:pt x="10940" y="6083"/>
                          <a:pt x="17351" y="2063"/>
                        </a:cubicBezTo>
                        <a:close/>
                      </a:path>
                    </a:pathLst>
                  </a:custGeom>
                  <a:solidFill>
                    <a:srgbClr val="F7AD7E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1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3F24EF16-035C-4D6F-80AD-13A69172CD5C}"/>
                      </a:ext>
                    </a:extLst>
                  </p:cNvPr>
                  <p:cNvSpPr/>
                  <p:nvPr/>
                </p:nvSpPr>
                <p:spPr>
                  <a:xfrm>
                    <a:off x="3976785" y="1257028"/>
                    <a:ext cx="219064" cy="151543"/>
                  </a:xfrm>
                  <a:custGeom>
                    <a:avLst/>
                    <a:gdLst>
                      <a:gd name="connsiteX0" fmla="*/ 193496 w 219064"/>
                      <a:gd name="connsiteY0" fmla="*/ 149074 h 151543"/>
                      <a:gd name="connsiteX1" fmla="*/ 192366 w 219064"/>
                      <a:gd name="connsiteY1" fmla="*/ 143896 h 151543"/>
                      <a:gd name="connsiteX2" fmla="*/ 181916 w 219064"/>
                      <a:gd name="connsiteY2" fmla="*/ 117063 h 151543"/>
                      <a:gd name="connsiteX3" fmla="*/ 161485 w 219064"/>
                      <a:gd name="connsiteY3" fmla="*/ 72908 h 151543"/>
                      <a:gd name="connsiteX4" fmla="*/ 158284 w 219064"/>
                      <a:gd name="connsiteY4" fmla="*/ 66035 h 151543"/>
                      <a:gd name="connsiteX5" fmla="*/ 158284 w 219064"/>
                      <a:gd name="connsiteY5" fmla="*/ 66035 h 151543"/>
                      <a:gd name="connsiteX6" fmla="*/ 158284 w 219064"/>
                      <a:gd name="connsiteY6" fmla="*/ 66694 h 151543"/>
                      <a:gd name="connsiteX7" fmla="*/ 154330 w 219064"/>
                      <a:gd name="connsiteY7" fmla="*/ 68859 h 151543"/>
                      <a:gd name="connsiteX8" fmla="*/ 126086 w 219064"/>
                      <a:gd name="connsiteY8" fmla="*/ 76015 h 151543"/>
                      <a:gd name="connsiteX9" fmla="*/ 88426 w 219064"/>
                      <a:gd name="connsiteY9" fmla="*/ 73755 h 151543"/>
                      <a:gd name="connsiteX10" fmla="*/ 56133 w 219064"/>
                      <a:gd name="connsiteY10" fmla="*/ 63681 h 151543"/>
                      <a:gd name="connsiteX11" fmla="*/ 54533 w 219064"/>
                      <a:gd name="connsiteY11" fmla="*/ 63681 h 151543"/>
                      <a:gd name="connsiteX12" fmla="*/ 30996 w 219064"/>
                      <a:gd name="connsiteY12" fmla="*/ 81758 h 151543"/>
                      <a:gd name="connsiteX13" fmla="*/ 13484 w 219064"/>
                      <a:gd name="connsiteY13" fmla="*/ 151522 h 151543"/>
                      <a:gd name="connsiteX14" fmla="*/ 115 w 219064"/>
                      <a:gd name="connsiteY14" fmla="*/ 118287 h 151543"/>
                      <a:gd name="connsiteX15" fmla="*/ 115 w 219064"/>
                      <a:gd name="connsiteY15" fmla="*/ 80628 h 151543"/>
                      <a:gd name="connsiteX16" fmla="*/ 2469 w 219064"/>
                      <a:gd name="connsiteY16" fmla="*/ 62646 h 151543"/>
                      <a:gd name="connsiteX17" fmla="*/ 17721 w 219064"/>
                      <a:gd name="connsiteY17" fmla="*/ 50595 h 151543"/>
                      <a:gd name="connsiteX18" fmla="*/ 35044 w 219064"/>
                      <a:gd name="connsiteY18" fmla="*/ 48618 h 151543"/>
                      <a:gd name="connsiteX19" fmla="*/ 41070 w 219064"/>
                      <a:gd name="connsiteY19" fmla="*/ 36943 h 151543"/>
                      <a:gd name="connsiteX20" fmla="*/ 51991 w 219064"/>
                      <a:gd name="connsiteY20" fmla="*/ 12559 h 151543"/>
                      <a:gd name="connsiteX21" fmla="*/ 112434 w 219064"/>
                      <a:gd name="connsiteY21" fmla="*/ 3144 h 151543"/>
                      <a:gd name="connsiteX22" fmla="*/ 171277 w 219064"/>
                      <a:gd name="connsiteY22" fmla="*/ 26963 h 151543"/>
                      <a:gd name="connsiteX23" fmla="*/ 209501 w 219064"/>
                      <a:gd name="connsiteY23" fmla="*/ 44569 h 151543"/>
                      <a:gd name="connsiteX24" fmla="*/ 217315 w 219064"/>
                      <a:gd name="connsiteY24" fmla="*/ 62457 h 151543"/>
                      <a:gd name="connsiteX25" fmla="*/ 193496 w 219064"/>
                      <a:gd name="connsiteY25" fmla="*/ 149074 h 1515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219064" h="151543">
                        <a:moveTo>
                          <a:pt x="193496" y="149074"/>
                        </a:moveTo>
                        <a:cubicBezTo>
                          <a:pt x="193213" y="147332"/>
                          <a:pt x="192837" y="145600"/>
                          <a:pt x="192366" y="143896"/>
                        </a:cubicBezTo>
                        <a:cubicBezTo>
                          <a:pt x="189749" y="134641"/>
                          <a:pt x="186246" y="125650"/>
                          <a:pt x="181916" y="117063"/>
                        </a:cubicBezTo>
                        <a:cubicBezTo>
                          <a:pt x="175043" y="102282"/>
                          <a:pt x="168264" y="87689"/>
                          <a:pt x="161485" y="72908"/>
                        </a:cubicBezTo>
                        <a:cubicBezTo>
                          <a:pt x="160356" y="70648"/>
                          <a:pt x="159320" y="68295"/>
                          <a:pt x="158284" y="66035"/>
                        </a:cubicBezTo>
                        <a:lnTo>
                          <a:pt x="158284" y="66035"/>
                        </a:lnTo>
                        <a:cubicBezTo>
                          <a:pt x="158284" y="66035"/>
                          <a:pt x="158284" y="66035"/>
                          <a:pt x="158284" y="66694"/>
                        </a:cubicBezTo>
                        <a:cubicBezTo>
                          <a:pt x="157173" y="67749"/>
                          <a:pt x="155818" y="68492"/>
                          <a:pt x="154330" y="68859"/>
                        </a:cubicBezTo>
                        <a:cubicBezTo>
                          <a:pt x="145094" y="71910"/>
                          <a:pt x="135661" y="74301"/>
                          <a:pt x="126086" y="76015"/>
                        </a:cubicBezTo>
                        <a:cubicBezTo>
                          <a:pt x="113498" y="77540"/>
                          <a:pt x="100741" y="76777"/>
                          <a:pt x="88426" y="73755"/>
                        </a:cubicBezTo>
                        <a:cubicBezTo>
                          <a:pt x="77976" y="71119"/>
                          <a:pt x="67243" y="63305"/>
                          <a:pt x="56133" y="63681"/>
                        </a:cubicBezTo>
                        <a:lnTo>
                          <a:pt x="54533" y="63681"/>
                        </a:lnTo>
                        <a:cubicBezTo>
                          <a:pt x="43470" y="63587"/>
                          <a:pt x="33764" y="71044"/>
                          <a:pt x="30996" y="81758"/>
                        </a:cubicBezTo>
                        <a:cubicBezTo>
                          <a:pt x="28746" y="105766"/>
                          <a:pt x="22843" y="129293"/>
                          <a:pt x="13484" y="151522"/>
                        </a:cubicBezTo>
                        <a:cubicBezTo>
                          <a:pt x="1527" y="144461"/>
                          <a:pt x="209" y="130432"/>
                          <a:pt x="115" y="118287"/>
                        </a:cubicBezTo>
                        <a:cubicBezTo>
                          <a:pt x="21" y="106142"/>
                          <a:pt x="115" y="93150"/>
                          <a:pt x="115" y="80628"/>
                        </a:cubicBezTo>
                        <a:cubicBezTo>
                          <a:pt x="-327" y="74537"/>
                          <a:pt x="473" y="68417"/>
                          <a:pt x="2469" y="62646"/>
                        </a:cubicBezTo>
                        <a:cubicBezTo>
                          <a:pt x="5162" y="56291"/>
                          <a:pt x="10914" y="51753"/>
                          <a:pt x="17721" y="50595"/>
                        </a:cubicBezTo>
                        <a:cubicBezTo>
                          <a:pt x="23464" y="49653"/>
                          <a:pt x="30149" y="51348"/>
                          <a:pt x="35044" y="48618"/>
                        </a:cubicBezTo>
                        <a:cubicBezTo>
                          <a:pt x="38716" y="45831"/>
                          <a:pt x="40929" y="41547"/>
                          <a:pt x="41070" y="36943"/>
                        </a:cubicBezTo>
                        <a:cubicBezTo>
                          <a:pt x="42134" y="27886"/>
                          <a:pt x="45947" y="19385"/>
                          <a:pt x="51991" y="12559"/>
                        </a:cubicBezTo>
                        <a:cubicBezTo>
                          <a:pt x="65737" y="-1469"/>
                          <a:pt x="91816" y="-2411"/>
                          <a:pt x="112434" y="3144"/>
                        </a:cubicBezTo>
                        <a:cubicBezTo>
                          <a:pt x="133053" y="8699"/>
                          <a:pt x="150941" y="20185"/>
                          <a:pt x="171277" y="26963"/>
                        </a:cubicBezTo>
                        <a:cubicBezTo>
                          <a:pt x="184928" y="31577"/>
                          <a:pt x="200745" y="34684"/>
                          <a:pt x="209501" y="44569"/>
                        </a:cubicBezTo>
                        <a:cubicBezTo>
                          <a:pt x="213634" y="49738"/>
                          <a:pt x="216327" y="55914"/>
                          <a:pt x="217315" y="62457"/>
                        </a:cubicBezTo>
                        <a:cubicBezTo>
                          <a:pt x="223105" y="93460"/>
                          <a:pt x="214321" y="125395"/>
                          <a:pt x="193496" y="149074"/>
                        </a:cubicBezTo>
                        <a:close/>
                      </a:path>
                    </a:pathLst>
                  </a:custGeom>
                  <a:solidFill>
                    <a:srgbClr val="E29F0B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2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05F7CEBE-BD3A-499B-9C9B-BE16DE2BE6CB}"/>
                      </a:ext>
                    </a:extLst>
                  </p:cNvPr>
                  <p:cNvSpPr/>
                  <p:nvPr/>
                </p:nvSpPr>
                <p:spPr>
                  <a:xfrm>
                    <a:off x="4135072" y="1317824"/>
                    <a:ext cx="46153" cy="83121"/>
                  </a:xfrm>
                  <a:custGeom>
                    <a:avLst/>
                    <a:gdLst>
                      <a:gd name="connsiteX0" fmla="*/ 39633 w 46153"/>
                      <a:gd name="connsiteY0" fmla="*/ 76415 h 83121"/>
                      <a:gd name="connsiteX1" fmla="*/ 34078 w 46153"/>
                      <a:gd name="connsiteY1" fmla="*/ 83100 h 83121"/>
                      <a:gd name="connsiteX2" fmla="*/ 23628 w 46153"/>
                      <a:gd name="connsiteY2" fmla="*/ 56267 h 83121"/>
                      <a:gd name="connsiteX3" fmla="*/ -3 w 46153"/>
                      <a:gd name="connsiteY3" fmla="*/ 5239 h 83121"/>
                      <a:gd name="connsiteX4" fmla="*/ 14872 w 46153"/>
                      <a:gd name="connsiteY4" fmla="*/ 343 h 83121"/>
                      <a:gd name="connsiteX5" fmla="*/ 34832 w 46153"/>
                      <a:gd name="connsiteY5" fmla="*/ 4862 h 83121"/>
                      <a:gd name="connsiteX6" fmla="*/ 42834 w 46153"/>
                      <a:gd name="connsiteY6" fmla="*/ 17855 h 83121"/>
                      <a:gd name="connsiteX7" fmla="*/ 45753 w 46153"/>
                      <a:gd name="connsiteY7" fmla="*/ 42333 h 83121"/>
                      <a:gd name="connsiteX8" fmla="*/ 39633 w 46153"/>
                      <a:gd name="connsiteY8" fmla="*/ 76415 h 831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153" h="83121">
                        <a:moveTo>
                          <a:pt x="39633" y="76415"/>
                        </a:moveTo>
                        <a:cubicBezTo>
                          <a:pt x="38325" y="79042"/>
                          <a:pt x="36423" y="81339"/>
                          <a:pt x="34078" y="83100"/>
                        </a:cubicBezTo>
                        <a:cubicBezTo>
                          <a:pt x="31461" y="73845"/>
                          <a:pt x="27959" y="64854"/>
                          <a:pt x="23628" y="56267"/>
                        </a:cubicBezTo>
                        <a:lnTo>
                          <a:pt x="-3" y="5239"/>
                        </a:lnTo>
                        <a:cubicBezTo>
                          <a:pt x="4648" y="2801"/>
                          <a:pt x="9675" y="1144"/>
                          <a:pt x="14872" y="343"/>
                        </a:cubicBezTo>
                        <a:cubicBezTo>
                          <a:pt x="21858" y="-815"/>
                          <a:pt x="29023" y="805"/>
                          <a:pt x="34832" y="4862"/>
                        </a:cubicBezTo>
                        <a:cubicBezTo>
                          <a:pt x="38776" y="8261"/>
                          <a:pt x="41573" y="12799"/>
                          <a:pt x="42834" y="17855"/>
                        </a:cubicBezTo>
                        <a:cubicBezTo>
                          <a:pt x="44877" y="25848"/>
                          <a:pt x="45856" y="34077"/>
                          <a:pt x="45753" y="42333"/>
                        </a:cubicBezTo>
                        <a:cubicBezTo>
                          <a:pt x="47109" y="54045"/>
                          <a:pt x="44981" y="65899"/>
                          <a:pt x="39633" y="7641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3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2A9A7DBB-D020-4287-9071-470799217891}"/>
                      </a:ext>
                    </a:extLst>
                  </p:cNvPr>
                  <p:cNvSpPr/>
                  <p:nvPr/>
                </p:nvSpPr>
                <p:spPr>
                  <a:xfrm>
                    <a:off x="4031321" y="1281616"/>
                    <a:ext cx="131901" cy="52212"/>
                  </a:xfrm>
                  <a:custGeom>
                    <a:avLst/>
                    <a:gdLst>
                      <a:gd name="connsiteX0" fmla="*/ 131898 w 131901"/>
                      <a:gd name="connsiteY0" fmla="*/ 34104 h 52212"/>
                      <a:gd name="connsiteX1" fmla="*/ 106949 w 131901"/>
                      <a:gd name="connsiteY1" fmla="*/ 48320 h 52212"/>
                      <a:gd name="connsiteX2" fmla="*/ 103748 w 131901"/>
                      <a:gd name="connsiteY2" fmla="*/ 41447 h 52212"/>
                      <a:gd name="connsiteX3" fmla="*/ 103748 w 131901"/>
                      <a:gd name="connsiteY3" fmla="*/ 41447 h 52212"/>
                      <a:gd name="connsiteX4" fmla="*/ 103748 w 131901"/>
                      <a:gd name="connsiteY4" fmla="*/ 42106 h 52212"/>
                      <a:gd name="connsiteX5" fmla="*/ 99794 w 131901"/>
                      <a:gd name="connsiteY5" fmla="*/ 44272 h 52212"/>
                      <a:gd name="connsiteX6" fmla="*/ 71550 w 131901"/>
                      <a:gd name="connsiteY6" fmla="*/ 51427 h 52212"/>
                      <a:gd name="connsiteX7" fmla="*/ 33890 w 131901"/>
                      <a:gd name="connsiteY7" fmla="*/ 49167 h 52212"/>
                      <a:gd name="connsiteX8" fmla="*/ 1597 w 131901"/>
                      <a:gd name="connsiteY8" fmla="*/ 39094 h 52212"/>
                      <a:gd name="connsiteX9" fmla="*/ -3 w 131901"/>
                      <a:gd name="connsiteY9" fmla="*/ 39094 h 52212"/>
                      <a:gd name="connsiteX10" fmla="*/ 1786 w 131901"/>
                      <a:gd name="connsiteY10" fmla="*/ 34292 h 52212"/>
                      <a:gd name="connsiteX11" fmla="*/ 30595 w 131901"/>
                      <a:gd name="connsiteY11" fmla="*/ 1340 h 52212"/>
                      <a:gd name="connsiteX12" fmla="*/ 65618 w 131901"/>
                      <a:gd name="connsiteY12" fmla="*/ 4165 h 52212"/>
                      <a:gd name="connsiteX13" fmla="*/ 97534 w 131901"/>
                      <a:gd name="connsiteY13" fmla="*/ 15839 h 52212"/>
                      <a:gd name="connsiteX14" fmla="*/ 117965 w 131901"/>
                      <a:gd name="connsiteY14" fmla="*/ 18099 h 52212"/>
                      <a:gd name="connsiteX15" fmla="*/ 131898 w 131901"/>
                      <a:gd name="connsiteY15" fmla="*/ 34104 h 522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31901" h="52212">
                        <a:moveTo>
                          <a:pt x="131898" y="34104"/>
                        </a:moveTo>
                        <a:cubicBezTo>
                          <a:pt x="122870" y="37455"/>
                          <a:pt x="114443" y="42257"/>
                          <a:pt x="106949" y="48320"/>
                        </a:cubicBezTo>
                        <a:cubicBezTo>
                          <a:pt x="105819" y="46061"/>
                          <a:pt x="104784" y="43707"/>
                          <a:pt x="103748" y="41447"/>
                        </a:cubicBezTo>
                        <a:lnTo>
                          <a:pt x="103748" y="41447"/>
                        </a:lnTo>
                        <a:cubicBezTo>
                          <a:pt x="103748" y="41447"/>
                          <a:pt x="103748" y="41447"/>
                          <a:pt x="103748" y="42106"/>
                        </a:cubicBezTo>
                        <a:cubicBezTo>
                          <a:pt x="102637" y="43161"/>
                          <a:pt x="101281" y="43905"/>
                          <a:pt x="99794" y="44272"/>
                        </a:cubicBezTo>
                        <a:cubicBezTo>
                          <a:pt x="90558" y="47322"/>
                          <a:pt x="81124" y="49714"/>
                          <a:pt x="71550" y="51427"/>
                        </a:cubicBezTo>
                        <a:cubicBezTo>
                          <a:pt x="58962" y="52952"/>
                          <a:pt x="46205" y="52190"/>
                          <a:pt x="33890" y="49167"/>
                        </a:cubicBezTo>
                        <a:cubicBezTo>
                          <a:pt x="23440" y="46531"/>
                          <a:pt x="12707" y="38717"/>
                          <a:pt x="1597" y="39094"/>
                        </a:cubicBezTo>
                        <a:lnTo>
                          <a:pt x="-3" y="39094"/>
                        </a:lnTo>
                        <a:cubicBezTo>
                          <a:pt x="-3" y="37587"/>
                          <a:pt x="1221" y="35987"/>
                          <a:pt x="1786" y="34292"/>
                        </a:cubicBezTo>
                        <a:cubicBezTo>
                          <a:pt x="7152" y="19134"/>
                          <a:pt x="10730" y="6048"/>
                          <a:pt x="30595" y="1340"/>
                        </a:cubicBezTo>
                        <a:cubicBezTo>
                          <a:pt x="42298" y="-1174"/>
                          <a:pt x="54471" y="-194"/>
                          <a:pt x="65618" y="4165"/>
                        </a:cubicBezTo>
                        <a:cubicBezTo>
                          <a:pt x="75796" y="9220"/>
                          <a:pt x="86500" y="13137"/>
                          <a:pt x="97534" y="15839"/>
                        </a:cubicBezTo>
                        <a:cubicBezTo>
                          <a:pt x="104398" y="16018"/>
                          <a:pt x="111233" y="16771"/>
                          <a:pt x="117965" y="18099"/>
                        </a:cubicBezTo>
                        <a:cubicBezTo>
                          <a:pt x="125261" y="20377"/>
                          <a:pt x="130646" y="26562"/>
                          <a:pt x="131898" y="34104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4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C008222F-4485-46EB-9889-8DF3D84A11AB}"/>
                      </a:ext>
                    </a:extLst>
                  </p:cNvPr>
                  <p:cNvSpPr/>
                  <p:nvPr/>
                </p:nvSpPr>
                <p:spPr>
                  <a:xfrm>
                    <a:off x="3907139" y="1554595"/>
                    <a:ext cx="303816" cy="102904"/>
                  </a:xfrm>
                  <a:custGeom>
                    <a:avLst/>
                    <a:gdLst>
                      <a:gd name="connsiteX0" fmla="*/ 151764 w 303816"/>
                      <a:gd name="connsiteY0" fmla="*/ -22 h 102904"/>
                      <a:gd name="connsiteX1" fmla="*/ -3 w 303816"/>
                      <a:gd name="connsiteY1" fmla="*/ 102882 h 102904"/>
                      <a:gd name="connsiteX2" fmla="*/ 34549 w 303816"/>
                      <a:gd name="connsiteY2" fmla="*/ 102882 h 102904"/>
                      <a:gd name="connsiteX3" fmla="*/ 151764 w 303816"/>
                      <a:gd name="connsiteY3" fmla="*/ 28599 h 102904"/>
                      <a:gd name="connsiteX4" fmla="*/ 269167 w 303816"/>
                      <a:gd name="connsiteY4" fmla="*/ 102882 h 102904"/>
                      <a:gd name="connsiteX5" fmla="*/ 303813 w 303816"/>
                      <a:gd name="connsiteY5" fmla="*/ 102882 h 102904"/>
                      <a:gd name="connsiteX6" fmla="*/ 151764 w 303816"/>
                      <a:gd name="connsiteY6" fmla="*/ -22 h 1029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03816" h="102904">
                        <a:moveTo>
                          <a:pt x="151764" y="-22"/>
                        </a:moveTo>
                        <a:cubicBezTo>
                          <a:pt x="78234" y="-22"/>
                          <a:pt x="16379" y="43945"/>
                          <a:pt x="-3" y="102882"/>
                        </a:cubicBezTo>
                        <a:lnTo>
                          <a:pt x="34549" y="102882"/>
                        </a:lnTo>
                        <a:cubicBezTo>
                          <a:pt x="50084" y="59856"/>
                          <a:pt x="96781" y="28599"/>
                          <a:pt x="151764" y="28599"/>
                        </a:cubicBezTo>
                        <a:cubicBezTo>
                          <a:pt x="206746" y="28599"/>
                          <a:pt x="253538" y="59856"/>
                          <a:pt x="269167" y="102882"/>
                        </a:cubicBezTo>
                        <a:lnTo>
                          <a:pt x="303813" y="102882"/>
                        </a:lnTo>
                        <a:cubicBezTo>
                          <a:pt x="287243" y="43945"/>
                          <a:pt x="225294" y="-22"/>
                          <a:pt x="151764" y="-22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5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4D4DFB8B-F4E9-4A1B-978A-F5FC8DCF924F}"/>
                      </a:ext>
                    </a:extLst>
                  </p:cNvPr>
                  <p:cNvSpPr/>
                  <p:nvPr/>
                </p:nvSpPr>
                <p:spPr>
                  <a:xfrm>
                    <a:off x="3886576" y="1582769"/>
                    <a:ext cx="104284" cy="77623"/>
                  </a:xfrm>
                  <a:custGeom>
                    <a:avLst/>
                    <a:gdLst>
                      <a:gd name="connsiteX0" fmla="*/ 82321 w 104284"/>
                      <a:gd name="connsiteY0" fmla="*/ 8617 h 77623"/>
                      <a:gd name="connsiteX1" fmla="*/ 101716 w 104284"/>
                      <a:gd name="connsiteY1" fmla="*/ 28105 h 77623"/>
                      <a:gd name="connsiteX2" fmla="*/ 104258 w 104284"/>
                      <a:gd name="connsiteY2" fmla="*/ 34413 h 77623"/>
                      <a:gd name="connsiteX3" fmla="*/ 98138 w 104284"/>
                      <a:gd name="connsiteY3" fmla="*/ 38744 h 77623"/>
                      <a:gd name="connsiteX4" fmla="*/ 80815 w 104284"/>
                      <a:gd name="connsiteY4" fmla="*/ 38179 h 77623"/>
                      <a:gd name="connsiteX5" fmla="*/ 83733 w 104284"/>
                      <a:gd name="connsiteY5" fmla="*/ 52301 h 77623"/>
                      <a:gd name="connsiteX6" fmla="*/ 70270 w 104284"/>
                      <a:gd name="connsiteY6" fmla="*/ 57574 h 77623"/>
                      <a:gd name="connsiteX7" fmla="*/ 68811 w 104284"/>
                      <a:gd name="connsiteY7" fmla="*/ 73080 h 77623"/>
                      <a:gd name="connsiteX8" fmla="*/ 67446 w 104284"/>
                      <a:gd name="connsiteY8" fmla="*/ 74050 h 77623"/>
                      <a:gd name="connsiteX9" fmla="*/ 48616 w 104284"/>
                      <a:gd name="connsiteY9" fmla="*/ 77345 h 77623"/>
                      <a:gd name="connsiteX10" fmla="*/ 17830 w 104284"/>
                      <a:gd name="connsiteY10" fmla="*/ 76592 h 77623"/>
                      <a:gd name="connsiteX11" fmla="*/ 5026 w 104284"/>
                      <a:gd name="connsiteY11" fmla="*/ 73485 h 77623"/>
                      <a:gd name="connsiteX12" fmla="*/ 318 w 104284"/>
                      <a:gd name="connsiteY12" fmla="*/ 65200 h 77623"/>
                      <a:gd name="connsiteX13" fmla="*/ 6344 w 104284"/>
                      <a:gd name="connsiteY13" fmla="*/ 36955 h 77623"/>
                      <a:gd name="connsiteX14" fmla="*/ 22820 w 104284"/>
                      <a:gd name="connsiteY14" fmla="*/ 11441 h 77623"/>
                      <a:gd name="connsiteX15" fmla="*/ 82321 w 104284"/>
                      <a:gd name="connsiteY15" fmla="*/ 8617 h 776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04284" h="77623">
                        <a:moveTo>
                          <a:pt x="82321" y="8617"/>
                        </a:moveTo>
                        <a:cubicBezTo>
                          <a:pt x="89655" y="14190"/>
                          <a:pt x="96180" y="20752"/>
                          <a:pt x="101716" y="28105"/>
                        </a:cubicBezTo>
                        <a:cubicBezTo>
                          <a:pt x="103505" y="29696"/>
                          <a:pt x="104446" y="32031"/>
                          <a:pt x="104258" y="34413"/>
                        </a:cubicBezTo>
                        <a:cubicBezTo>
                          <a:pt x="103693" y="36955"/>
                          <a:pt x="100680" y="38179"/>
                          <a:pt x="98138" y="38744"/>
                        </a:cubicBezTo>
                        <a:cubicBezTo>
                          <a:pt x="92404" y="39968"/>
                          <a:pt x="86454" y="39780"/>
                          <a:pt x="80815" y="38179"/>
                        </a:cubicBezTo>
                        <a:cubicBezTo>
                          <a:pt x="84929" y="41653"/>
                          <a:pt x="86134" y="47481"/>
                          <a:pt x="83733" y="52301"/>
                        </a:cubicBezTo>
                        <a:cubicBezTo>
                          <a:pt x="81031" y="56990"/>
                          <a:pt x="75439" y="59174"/>
                          <a:pt x="70270" y="57574"/>
                        </a:cubicBezTo>
                        <a:cubicBezTo>
                          <a:pt x="74149" y="62262"/>
                          <a:pt x="73500" y="69201"/>
                          <a:pt x="68811" y="73080"/>
                        </a:cubicBezTo>
                        <a:cubicBezTo>
                          <a:pt x="68378" y="73438"/>
                          <a:pt x="67926" y="73767"/>
                          <a:pt x="67446" y="74050"/>
                        </a:cubicBezTo>
                        <a:cubicBezTo>
                          <a:pt x="61646" y="77015"/>
                          <a:pt x="55084" y="78164"/>
                          <a:pt x="48616" y="77345"/>
                        </a:cubicBezTo>
                        <a:lnTo>
                          <a:pt x="17830" y="76592"/>
                        </a:lnTo>
                        <a:cubicBezTo>
                          <a:pt x="13339" y="76921"/>
                          <a:pt x="8867" y="75838"/>
                          <a:pt x="5026" y="73485"/>
                        </a:cubicBezTo>
                        <a:cubicBezTo>
                          <a:pt x="2531" y="71366"/>
                          <a:pt x="864" y="68429"/>
                          <a:pt x="318" y="65200"/>
                        </a:cubicBezTo>
                        <a:cubicBezTo>
                          <a:pt x="-868" y="55380"/>
                          <a:pt x="1250" y="45438"/>
                          <a:pt x="6344" y="36955"/>
                        </a:cubicBezTo>
                        <a:cubicBezTo>
                          <a:pt x="9968" y="27380"/>
                          <a:pt x="15580" y="18681"/>
                          <a:pt x="22820" y="11441"/>
                        </a:cubicBezTo>
                        <a:cubicBezTo>
                          <a:pt x="39785" y="-2719"/>
                          <a:pt x="64094" y="-3877"/>
                          <a:pt x="82321" y="8617"/>
                        </a:cubicBezTo>
                        <a:close/>
                      </a:path>
                    </a:pathLst>
                  </a:custGeom>
                  <a:solidFill>
                    <a:srgbClr val="F7AD7E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6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2F677379-53E2-4087-928A-2A104BF7C3FA}"/>
                      </a:ext>
                    </a:extLst>
                  </p:cNvPr>
                  <p:cNvSpPr/>
                  <p:nvPr/>
                </p:nvSpPr>
                <p:spPr>
                  <a:xfrm>
                    <a:off x="4152379" y="1612878"/>
                    <a:ext cx="70974" cy="46632"/>
                  </a:xfrm>
                  <a:custGeom>
                    <a:avLst/>
                    <a:gdLst>
                      <a:gd name="connsiteX0" fmla="*/ 21668 w 70974"/>
                      <a:gd name="connsiteY0" fmla="*/ 10517 h 46632"/>
                      <a:gd name="connsiteX1" fmla="*/ 2838 w 70974"/>
                      <a:gd name="connsiteY1" fmla="*/ 23604 h 46632"/>
                      <a:gd name="connsiteX2" fmla="*/ 14 w 70974"/>
                      <a:gd name="connsiteY2" fmla="*/ 31136 h 46632"/>
                      <a:gd name="connsiteX3" fmla="*/ 3591 w 70974"/>
                      <a:gd name="connsiteY3" fmla="*/ 38009 h 46632"/>
                      <a:gd name="connsiteX4" fmla="*/ 19220 w 70974"/>
                      <a:gd name="connsiteY4" fmla="*/ 38009 h 46632"/>
                      <a:gd name="connsiteX5" fmla="*/ 22139 w 70974"/>
                      <a:gd name="connsiteY5" fmla="*/ 45258 h 46632"/>
                      <a:gd name="connsiteX6" fmla="*/ 30612 w 70974"/>
                      <a:gd name="connsiteY6" fmla="*/ 46482 h 46632"/>
                      <a:gd name="connsiteX7" fmla="*/ 64035 w 70974"/>
                      <a:gd name="connsiteY7" fmla="*/ 45446 h 46632"/>
                      <a:gd name="connsiteX8" fmla="*/ 69213 w 70974"/>
                      <a:gd name="connsiteY8" fmla="*/ 44223 h 46632"/>
                      <a:gd name="connsiteX9" fmla="*/ 70343 w 70974"/>
                      <a:gd name="connsiteY9" fmla="*/ 37161 h 46632"/>
                      <a:gd name="connsiteX10" fmla="*/ 58856 w 70974"/>
                      <a:gd name="connsiteY10" fmla="*/ 21062 h 46632"/>
                      <a:gd name="connsiteX11" fmla="*/ 47559 w 70974"/>
                      <a:gd name="connsiteY11" fmla="*/ 67 h 46632"/>
                      <a:gd name="connsiteX12" fmla="*/ 21668 w 70974"/>
                      <a:gd name="connsiteY12" fmla="*/ 10517 h 46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70974" h="46632">
                        <a:moveTo>
                          <a:pt x="21668" y="10517"/>
                        </a:moveTo>
                        <a:cubicBezTo>
                          <a:pt x="14371" y="13191"/>
                          <a:pt x="7885" y="17701"/>
                          <a:pt x="2838" y="23604"/>
                        </a:cubicBezTo>
                        <a:cubicBezTo>
                          <a:pt x="1125" y="25751"/>
                          <a:pt x="136" y="28387"/>
                          <a:pt x="14" y="31136"/>
                        </a:cubicBezTo>
                        <a:cubicBezTo>
                          <a:pt x="-175" y="33913"/>
                          <a:pt x="1209" y="36568"/>
                          <a:pt x="3591" y="38009"/>
                        </a:cubicBezTo>
                        <a:cubicBezTo>
                          <a:pt x="8205" y="40645"/>
                          <a:pt x="14042" y="36691"/>
                          <a:pt x="19220" y="38009"/>
                        </a:cubicBezTo>
                        <a:cubicBezTo>
                          <a:pt x="18147" y="40814"/>
                          <a:pt x="19418" y="43978"/>
                          <a:pt x="22139" y="45258"/>
                        </a:cubicBezTo>
                        <a:cubicBezTo>
                          <a:pt x="24803" y="46426"/>
                          <a:pt x="27731" y="46849"/>
                          <a:pt x="30612" y="46482"/>
                        </a:cubicBezTo>
                        <a:lnTo>
                          <a:pt x="64035" y="45446"/>
                        </a:lnTo>
                        <a:cubicBezTo>
                          <a:pt x="65852" y="45625"/>
                          <a:pt x="67669" y="45192"/>
                          <a:pt x="69213" y="44223"/>
                        </a:cubicBezTo>
                        <a:cubicBezTo>
                          <a:pt x="71039" y="42340"/>
                          <a:pt x="71491" y="39515"/>
                          <a:pt x="70343" y="37161"/>
                        </a:cubicBezTo>
                        <a:cubicBezTo>
                          <a:pt x="68083" y="30948"/>
                          <a:pt x="60928" y="27747"/>
                          <a:pt x="58856" y="21062"/>
                        </a:cubicBezTo>
                        <a:cubicBezTo>
                          <a:pt x="56785" y="14378"/>
                          <a:pt x="58856" y="1668"/>
                          <a:pt x="47559" y="67"/>
                        </a:cubicBezTo>
                        <a:cubicBezTo>
                          <a:pt x="39744" y="-969"/>
                          <a:pt x="28447" y="7316"/>
                          <a:pt x="21668" y="10517"/>
                        </a:cubicBezTo>
                        <a:close/>
                      </a:path>
                    </a:pathLst>
                  </a:custGeom>
                  <a:solidFill>
                    <a:srgbClr val="F7AD7E"/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7" name="Graphic 248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666BD5FF-4809-487A-A515-42727C0884D7}"/>
                      </a:ext>
                    </a:extLst>
                  </p:cNvPr>
                  <p:cNvSpPr/>
                  <p:nvPr/>
                </p:nvSpPr>
                <p:spPr>
                  <a:xfrm>
                    <a:off x="3975585" y="1202293"/>
                    <a:ext cx="784255" cy="453888"/>
                  </a:xfrm>
                  <a:custGeom>
                    <a:avLst/>
                    <a:gdLst>
                      <a:gd name="connsiteX0" fmla="*/ 0 w 784255"/>
                      <a:gd name="connsiteY0" fmla="*/ 0 h 453888"/>
                      <a:gd name="connsiteX1" fmla="*/ 384219 w 784255"/>
                      <a:gd name="connsiteY1" fmla="*/ 453889 h 453888"/>
                      <a:gd name="connsiteX2" fmla="*/ 784255 w 784255"/>
                      <a:gd name="connsiteY2" fmla="*/ 451159 h 453888"/>
                      <a:gd name="connsiteX3" fmla="*/ 440614 w 784255"/>
                      <a:gd name="connsiteY3" fmla="*/ 8097 h 453888"/>
                      <a:gd name="connsiteX4" fmla="*/ 0 w 784255"/>
                      <a:gd name="connsiteY4" fmla="*/ 0 h 4538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4255" h="453888">
                        <a:moveTo>
                          <a:pt x="0" y="0"/>
                        </a:moveTo>
                        <a:lnTo>
                          <a:pt x="384219" y="453889"/>
                        </a:lnTo>
                        <a:lnTo>
                          <a:pt x="784255" y="451159"/>
                        </a:lnTo>
                        <a:lnTo>
                          <a:pt x="440614" y="809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>
                      <a:alpha val="59000"/>
                    </a:srgbClr>
                  </a:solidFill>
                  <a:ln w="940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DE61D07C-3AC0-47E0-9DA2-2C127C5055E7}"/>
                  </a:ext>
                </a:extLst>
              </p:cNvPr>
              <p:cNvGrpSpPr/>
              <p:nvPr/>
            </p:nvGrpSpPr>
            <p:grpSpPr>
              <a:xfrm>
                <a:off x="946360" y="1041166"/>
                <a:ext cx="1120500" cy="1367035"/>
                <a:chOff x="363407" y="823329"/>
                <a:chExt cx="1174676" cy="1492626"/>
              </a:xfrm>
            </p:grpSpPr>
            <p:grpSp>
              <p:nvGrpSpPr>
                <p:cNvPr id="115" name="Group 114">
                  <a:extLst>
                    <a:ext uri="{FF2B5EF4-FFF2-40B4-BE49-F238E27FC236}">
                      <a16:creationId xmlns:a16="http://schemas.microsoft.com/office/drawing/2014/main" id="{D7C52428-E806-4878-965A-B79E1A7787D4}"/>
                    </a:ext>
                  </a:extLst>
                </p:cNvPr>
                <p:cNvGrpSpPr/>
                <p:nvPr/>
              </p:nvGrpSpPr>
              <p:grpSpPr>
                <a:xfrm>
                  <a:off x="363407" y="823329"/>
                  <a:ext cx="935909" cy="1218281"/>
                  <a:chOff x="4690076" y="1634014"/>
                  <a:chExt cx="1567147" cy="2109753"/>
                </a:xfrm>
              </p:grpSpPr>
              <p:sp>
                <p:nvSpPr>
                  <p:cNvPr id="117" name="Graphic 5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FC6B637F-05A1-4A02-9300-61B356B9114E}"/>
                      </a:ext>
                    </a:extLst>
                  </p:cNvPr>
                  <p:cNvSpPr/>
                  <p:nvPr/>
                </p:nvSpPr>
                <p:spPr>
                  <a:xfrm>
                    <a:off x="4690076" y="2770590"/>
                    <a:ext cx="1567147" cy="973177"/>
                  </a:xfrm>
                  <a:custGeom>
                    <a:avLst/>
                    <a:gdLst>
                      <a:gd name="connsiteX0" fmla="*/ -1 w 1567147"/>
                      <a:gd name="connsiteY0" fmla="*/ 832871 h 973177"/>
                      <a:gd name="connsiteX1" fmla="*/ -1 w 1567147"/>
                      <a:gd name="connsiteY1" fmla="*/ 424876 h 973177"/>
                      <a:gd name="connsiteX2" fmla="*/ 437189 w 1567147"/>
                      <a:gd name="connsiteY2" fmla="*/ 15626 h 973177"/>
                      <a:gd name="connsiteX3" fmla="*/ 1144017 w 1567147"/>
                      <a:gd name="connsiteY3" fmla="*/ 29596 h 973177"/>
                      <a:gd name="connsiteX4" fmla="*/ 1567147 w 1567147"/>
                      <a:gd name="connsiteY4" fmla="*/ 517830 h 973177"/>
                      <a:gd name="connsiteX5" fmla="*/ 1567147 w 1567147"/>
                      <a:gd name="connsiteY5" fmla="*/ 866632 h 973177"/>
                      <a:gd name="connsiteX6" fmla="*/ -1 w 1567147"/>
                      <a:gd name="connsiteY6" fmla="*/ 832871 h 9731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567147" h="973177">
                        <a:moveTo>
                          <a:pt x="-1" y="832871"/>
                        </a:moveTo>
                        <a:lnTo>
                          <a:pt x="-1" y="424876"/>
                        </a:lnTo>
                        <a:cubicBezTo>
                          <a:pt x="-1" y="424876"/>
                          <a:pt x="97700" y="57715"/>
                          <a:pt x="437189" y="15626"/>
                        </a:cubicBezTo>
                        <a:cubicBezTo>
                          <a:pt x="776678" y="-26463"/>
                          <a:pt x="1144017" y="29596"/>
                          <a:pt x="1144017" y="29596"/>
                        </a:cubicBezTo>
                        <a:cubicBezTo>
                          <a:pt x="1144017" y="29596"/>
                          <a:pt x="1502222" y="76073"/>
                          <a:pt x="1567147" y="517830"/>
                        </a:cubicBezTo>
                        <a:lnTo>
                          <a:pt x="1567147" y="866632"/>
                        </a:lnTo>
                        <a:cubicBezTo>
                          <a:pt x="1567147" y="866632"/>
                          <a:pt x="665007" y="1127406"/>
                          <a:pt x="-1" y="832871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894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8" name="Graphic 5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B167BB89-82E8-4676-93AA-93F8C978F77B}"/>
                      </a:ext>
                    </a:extLst>
                  </p:cNvPr>
                  <p:cNvSpPr/>
                  <p:nvPr/>
                </p:nvSpPr>
                <p:spPr>
                  <a:xfrm>
                    <a:off x="5053157" y="2301078"/>
                    <a:ext cx="161075" cy="224619"/>
                  </a:xfrm>
                  <a:custGeom>
                    <a:avLst/>
                    <a:gdLst>
                      <a:gd name="connsiteX0" fmla="*/ 86466 w 161075"/>
                      <a:gd name="connsiteY0" fmla="*/ 11412 h 224619"/>
                      <a:gd name="connsiteX1" fmla="*/ 38198 w 161075"/>
                      <a:gd name="connsiteY1" fmla="*/ 2456 h 224619"/>
                      <a:gd name="connsiteX2" fmla="*/ 20914 w 161075"/>
                      <a:gd name="connsiteY2" fmla="*/ 14367 h 224619"/>
                      <a:gd name="connsiteX3" fmla="*/ 5153 w 161075"/>
                      <a:gd name="connsiteY3" fmla="*/ 118873 h 224619"/>
                      <a:gd name="connsiteX4" fmla="*/ 23063 w 161075"/>
                      <a:gd name="connsiteY4" fmla="*/ 177887 h 224619"/>
                      <a:gd name="connsiteX5" fmla="*/ 36407 w 161075"/>
                      <a:gd name="connsiteY5" fmla="*/ 202604 h 224619"/>
                      <a:gd name="connsiteX6" fmla="*/ 113242 w 161075"/>
                      <a:gd name="connsiteY6" fmla="*/ 223469 h 224619"/>
                      <a:gd name="connsiteX7" fmla="*/ 155151 w 161075"/>
                      <a:gd name="connsiteY7" fmla="*/ 201977 h 224619"/>
                      <a:gd name="connsiteX8" fmla="*/ 159450 w 161075"/>
                      <a:gd name="connsiteY8" fmla="*/ 184066 h 224619"/>
                      <a:gd name="connsiteX9" fmla="*/ 86466 w 161075"/>
                      <a:gd name="connsiteY9" fmla="*/ 11412 h 2246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61075" h="224619">
                        <a:moveTo>
                          <a:pt x="86466" y="11412"/>
                        </a:moveTo>
                        <a:cubicBezTo>
                          <a:pt x="71958" y="2456"/>
                          <a:pt x="54138" y="-3722"/>
                          <a:pt x="38198" y="2456"/>
                        </a:cubicBezTo>
                        <a:cubicBezTo>
                          <a:pt x="31597" y="5045"/>
                          <a:pt x="25683" y="9121"/>
                          <a:pt x="20914" y="14367"/>
                        </a:cubicBezTo>
                        <a:cubicBezTo>
                          <a:pt x="-4250" y="41232"/>
                          <a:pt x="-2817" y="83053"/>
                          <a:pt x="5153" y="118873"/>
                        </a:cubicBezTo>
                        <a:cubicBezTo>
                          <a:pt x="9588" y="138978"/>
                          <a:pt x="15576" y="158709"/>
                          <a:pt x="23063" y="177887"/>
                        </a:cubicBezTo>
                        <a:cubicBezTo>
                          <a:pt x="26183" y="186777"/>
                          <a:pt x="30686" y="195118"/>
                          <a:pt x="36407" y="202604"/>
                        </a:cubicBezTo>
                        <a:cubicBezTo>
                          <a:pt x="54317" y="223827"/>
                          <a:pt x="85660" y="226693"/>
                          <a:pt x="113242" y="223469"/>
                        </a:cubicBezTo>
                        <a:cubicBezTo>
                          <a:pt x="129540" y="221588"/>
                          <a:pt x="147719" y="216663"/>
                          <a:pt x="155151" y="201977"/>
                        </a:cubicBezTo>
                        <a:cubicBezTo>
                          <a:pt x="157710" y="196334"/>
                          <a:pt x="159169" y="190255"/>
                          <a:pt x="159450" y="184066"/>
                        </a:cubicBezTo>
                        <a:cubicBezTo>
                          <a:pt x="166883" y="111620"/>
                          <a:pt x="149868" y="49740"/>
                          <a:pt x="86466" y="11412"/>
                        </a:cubicBezTo>
                        <a:close/>
                      </a:path>
                    </a:pathLst>
                  </a:custGeom>
                  <a:solidFill>
                    <a:srgbClr val="F7AF87"/>
                  </a:solidFill>
                  <a:ln w="894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9" name="Graphic 5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6D937B8D-54D9-4B33-90FD-88AAC3043051}"/>
                      </a:ext>
                    </a:extLst>
                  </p:cNvPr>
                  <p:cNvSpPr/>
                  <p:nvPr/>
                </p:nvSpPr>
                <p:spPr>
                  <a:xfrm>
                    <a:off x="5741748" y="2322895"/>
                    <a:ext cx="181984" cy="208425"/>
                  </a:xfrm>
                  <a:custGeom>
                    <a:avLst/>
                    <a:gdLst>
                      <a:gd name="connsiteX0" fmla="*/ 80793 w 181984"/>
                      <a:gd name="connsiteY0" fmla="*/ 18967 h 208425"/>
                      <a:gd name="connsiteX1" fmla="*/ 150374 w 181984"/>
                      <a:gd name="connsiteY1" fmla="*/ 3744 h 208425"/>
                      <a:gd name="connsiteX2" fmla="*/ 181807 w 181984"/>
                      <a:gd name="connsiteY2" fmla="*/ 51385 h 208425"/>
                      <a:gd name="connsiteX3" fmla="*/ 171598 w 181984"/>
                      <a:gd name="connsiteY3" fmla="*/ 109772 h 208425"/>
                      <a:gd name="connsiteX4" fmla="*/ 135330 w 181984"/>
                      <a:gd name="connsiteY4" fmla="*/ 174518 h 208425"/>
                      <a:gd name="connsiteX5" fmla="*/ 70853 w 181984"/>
                      <a:gd name="connsiteY5" fmla="*/ 208189 h 208425"/>
                      <a:gd name="connsiteX6" fmla="*/ 8615 w 181984"/>
                      <a:gd name="connsiteY6" fmla="*/ 175055 h 208425"/>
                      <a:gd name="connsiteX7" fmla="*/ 376 w 181984"/>
                      <a:gd name="connsiteY7" fmla="*/ 129115 h 208425"/>
                      <a:gd name="connsiteX8" fmla="*/ 4406 w 181984"/>
                      <a:gd name="connsiteY8" fmla="*/ 93295 h 208425"/>
                      <a:gd name="connsiteX9" fmla="*/ 80793 w 181984"/>
                      <a:gd name="connsiteY9" fmla="*/ 18967 h 2084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81984" h="208425">
                        <a:moveTo>
                          <a:pt x="80793" y="18967"/>
                        </a:moveTo>
                        <a:cubicBezTo>
                          <a:pt x="101121" y="4818"/>
                          <a:pt x="127539" y="-6107"/>
                          <a:pt x="150374" y="3744"/>
                        </a:cubicBezTo>
                        <a:cubicBezTo>
                          <a:pt x="168552" y="12935"/>
                          <a:pt x="180508" y="31058"/>
                          <a:pt x="181807" y="51385"/>
                        </a:cubicBezTo>
                        <a:cubicBezTo>
                          <a:pt x="182840" y="71367"/>
                          <a:pt x="179350" y="91326"/>
                          <a:pt x="171598" y="109772"/>
                        </a:cubicBezTo>
                        <a:cubicBezTo>
                          <a:pt x="163735" y="133464"/>
                          <a:pt x="151426" y="155438"/>
                          <a:pt x="135330" y="174518"/>
                        </a:cubicBezTo>
                        <a:cubicBezTo>
                          <a:pt x="118990" y="193644"/>
                          <a:pt x="95886" y="205710"/>
                          <a:pt x="70853" y="208189"/>
                        </a:cubicBezTo>
                        <a:cubicBezTo>
                          <a:pt x="45432" y="210170"/>
                          <a:pt x="21165" y="197250"/>
                          <a:pt x="8615" y="175055"/>
                        </a:cubicBezTo>
                        <a:cubicBezTo>
                          <a:pt x="2536" y="160530"/>
                          <a:pt x="-277" y="144847"/>
                          <a:pt x="376" y="129115"/>
                        </a:cubicBezTo>
                        <a:cubicBezTo>
                          <a:pt x="-740" y="117025"/>
                          <a:pt x="631" y="104835"/>
                          <a:pt x="4406" y="93295"/>
                        </a:cubicBezTo>
                        <a:cubicBezTo>
                          <a:pt x="14256" y="68668"/>
                          <a:pt x="59928" y="33475"/>
                          <a:pt x="80793" y="18967"/>
                        </a:cubicBezTo>
                        <a:close/>
                      </a:path>
                    </a:pathLst>
                  </a:custGeom>
                  <a:solidFill>
                    <a:srgbClr val="F7AF87"/>
                  </a:solidFill>
                  <a:ln w="894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0" name="Graphic 5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2F1EF4A6-94EC-476D-875C-0C972BB217A6}"/>
                      </a:ext>
                    </a:extLst>
                  </p:cNvPr>
                  <p:cNvSpPr/>
                  <p:nvPr/>
                </p:nvSpPr>
                <p:spPr>
                  <a:xfrm>
                    <a:off x="5250757" y="2678344"/>
                    <a:ext cx="397428" cy="369040"/>
                  </a:xfrm>
                  <a:custGeom>
                    <a:avLst/>
                    <a:gdLst>
                      <a:gd name="connsiteX0" fmla="*/ 13611 w 397428"/>
                      <a:gd name="connsiteY0" fmla="*/ 147364 h 369040"/>
                      <a:gd name="connsiteX1" fmla="*/ -1 w 397428"/>
                      <a:gd name="connsiteY1" fmla="*/ 192140 h 369040"/>
                      <a:gd name="connsiteX2" fmla="*/ 6626 w 397428"/>
                      <a:gd name="connsiteY2" fmla="*/ 219005 h 369040"/>
                      <a:gd name="connsiteX3" fmla="*/ 172744 w 397428"/>
                      <a:gd name="connsiteY3" fmla="*/ 359063 h 369040"/>
                      <a:gd name="connsiteX4" fmla="*/ 233370 w 397428"/>
                      <a:gd name="connsiteY4" fmla="*/ 369003 h 369040"/>
                      <a:gd name="connsiteX5" fmla="*/ 393398 w 397428"/>
                      <a:gd name="connsiteY5" fmla="*/ 258049 h 369040"/>
                      <a:gd name="connsiteX6" fmla="*/ 397428 w 397428"/>
                      <a:gd name="connsiteY6" fmla="*/ 246497 h 369040"/>
                      <a:gd name="connsiteX7" fmla="*/ 393040 w 397428"/>
                      <a:gd name="connsiteY7" fmla="*/ 231363 h 369040"/>
                      <a:gd name="connsiteX8" fmla="*/ 380234 w 397428"/>
                      <a:gd name="connsiteY8" fmla="*/ 58887 h 369040"/>
                      <a:gd name="connsiteX9" fmla="*/ 379338 w 397428"/>
                      <a:gd name="connsiteY9" fmla="*/ 44380 h 369040"/>
                      <a:gd name="connsiteX10" fmla="*/ 370383 w 397428"/>
                      <a:gd name="connsiteY10" fmla="*/ 36947 h 369040"/>
                      <a:gd name="connsiteX11" fmla="*/ 245012 w 397428"/>
                      <a:gd name="connsiteY11" fmla="*/ 28977 h 369040"/>
                      <a:gd name="connsiteX12" fmla="*/ 72088 w 397428"/>
                      <a:gd name="connsiteY12" fmla="*/ -38 h 369040"/>
                      <a:gd name="connsiteX13" fmla="*/ 40476 w 397428"/>
                      <a:gd name="connsiteY13" fmla="*/ 42141 h 369040"/>
                      <a:gd name="connsiteX14" fmla="*/ 13611 w 397428"/>
                      <a:gd name="connsiteY14" fmla="*/ 147364 h 3690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397428" h="369040">
                        <a:moveTo>
                          <a:pt x="13611" y="147364"/>
                        </a:moveTo>
                        <a:cubicBezTo>
                          <a:pt x="5659" y="161030"/>
                          <a:pt x="999" y="176360"/>
                          <a:pt x="-1" y="192140"/>
                        </a:cubicBezTo>
                        <a:cubicBezTo>
                          <a:pt x="589" y="201418"/>
                          <a:pt x="2834" y="210516"/>
                          <a:pt x="6626" y="219005"/>
                        </a:cubicBezTo>
                        <a:cubicBezTo>
                          <a:pt x="39402" y="299601"/>
                          <a:pt x="107282" y="340257"/>
                          <a:pt x="172744" y="359063"/>
                        </a:cubicBezTo>
                        <a:cubicBezTo>
                          <a:pt x="192390" y="365186"/>
                          <a:pt x="212797" y="368532"/>
                          <a:pt x="233370" y="369003"/>
                        </a:cubicBezTo>
                        <a:cubicBezTo>
                          <a:pt x="295160" y="369003"/>
                          <a:pt x="356234" y="326556"/>
                          <a:pt x="393398" y="258049"/>
                        </a:cubicBezTo>
                        <a:cubicBezTo>
                          <a:pt x="395570" y="254540"/>
                          <a:pt x="396946" y="250596"/>
                          <a:pt x="397428" y="246497"/>
                        </a:cubicBezTo>
                        <a:cubicBezTo>
                          <a:pt x="397221" y="241170"/>
                          <a:pt x="395715" y="235974"/>
                          <a:pt x="393040" y="231363"/>
                        </a:cubicBezTo>
                        <a:cubicBezTo>
                          <a:pt x="369936" y="181572"/>
                          <a:pt x="374145" y="117364"/>
                          <a:pt x="380234" y="58887"/>
                        </a:cubicBezTo>
                        <a:cubicBezTo>
                          <a:pt x="381163" y="54053"/>
                          <a:pt x="380855" y="49063"/>
                          <a:pt x="379338" y="44380"/>
                        </a:cubicBezTo>
                        <a:cubicBezTo>
                          <a:pt x="377488" y="40788"/>
                          <a:pt x="374254" y="38105"/>
                          <a:pt x="370383" y="36947"/>
                        </a:cubicBezTo>
                        <a:cubicBezTo>
                          <a:pt x="330354" y="20111"/>
                          <a:pt x="287369" y="30589"/>
                          <a:pt x="245012" y="28977"/>
                        </a:cubicBezTo>
                        <a:cubicBezTo>
                          <a:pt x="186803" y="26828"/>
                          <a:pt x="130386" y="52"/>
                          <a:pt x="72088" y="-38"/>
                        </a:cubicBezTo>
                        <a:cubicBezTo>
                          <a:pt x="46118" y="-38"/>
                          <a:pt x="44148" y="9634"/>
                          <a:pt x="40476" y="42141"/>
                        </a:cubicBezTo>
                        <a:cubicBezTo>
                          <a:pt x="37246" y="78433"/>
                          <a:pt x="28174" y="113965"/>
                          <a:pt x="13611" y="147364"/>
                        </a:cubicBezTo>
                        <a:close/>
                      </a:path>
                    </a:pathLst>
                  </a:custGeom>
                  <a:solidFill>
                    <a:srgbClr val="F7AF87"/>
                  </a:solidFill>
                  <a:ln w="894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1" name="Graphic 5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BF319953-00DC-4FAB-9E34-65984A6C7599}"/>
                      </a:ext>
                    </a:extLst>
                  </p:cNvPr>
                  <p:cNvSpPr/>
                  <p:nvPr/>
                </p:nvSpPr>
                <p:spPr>
                  <a:xfrm>
                    <a:off x="5265085" y="2658195"/>
                    <a:ext cx="383100" cy="275792"/>
                  </a:xfrm>
                  <a:custGeom>
                    <a:avLst/>
                    <a:gdLst>
                      <a:gd name="connsiteX0" fmla="*/ -1 w 383100"/>
                      <a:gd name="connsiteY0" fmla="*/ -38 h 275792"/>
                      <a:gd name="connsiteX1" fmla="*/ 114983 w 383100"/>
                      <a:gd name="connsiteY1" fmla="*/ 217841 h 275792"/>
                      <a:gd name="connsiteX2" fmla="*/ 366354 w 383100"/>
                      <a:gd name="connsiteY2" fmla="*/ 210587 h 275792"/>
                      <a:gd name="connsiteX3" fmla="*/ 383100 w 383100"/>
                      <a:gd name="connsiteY3" fmla="*/ -38 h 275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83100" h="275792">
                        <a:moveTo>
                          <a:pt x="-1" y="-38"/>
                        </a:moveTo>
                        <a:cubicBezTo>
                          <a:pt x="-1" y="-38"/>
                          <a:pt x="33581" y="131603"/>
                          <a:pt x="114983" y="217841"/>
                        </a:cubicBezTo>
                        <a:cubicBezTo>
                          <a:pt x="196385" y="304078"/>
                          <a:pt x="389100" y="287601"/>
                          <a:pt x="366354" y="210587"/>
                        </a:cubicBezTo>
                        <a:cubicBezTo>
                          <a:pt x="347190" y="146021"/>
                          <a:pt x="383100" y="-38"/>
                          <a:pt x="383100" y="-38"/>
                        </a:cubicBezTo>
                        <a:close/>
                      </a:path>
                    </a:pathLst>
                  </a:custGeom>
                  <a:solidFill>
                    <a:srgbClr val="000000">
                      <a:alpha val="44000"/>
                    </a:srgbClr>
                  </a:solidFill>
                  <a:ln w="894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2" name="Graphic 5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C988BBE5-3651-4AF3-BBC6-29688CCF6347}"/>
                      </a:ext>
                    </a:extLst>
                  </p:cNvPr>
                  <p:cNvSpPr/>
                  <p:nvPr/>
                </p:nvSpPr>
                <p:spPr>
                  <a:xfrm>
                    <a:off x="5150459" y="1946800"/>
                    <a:ext cx="658714" cy="857184"/>
                  </a:xfrm>
                  <a:custGeom>
                    <a:avLst/>
                    <a:gdLst>
                      <a:gd name="connsiteX0" fmla="*/ 651037 w 658714"/>
                      <a:gd name="connsiteY0" fmla="*/ 463122 h 857184"/>
                      <a:gd name="connsiteX1" fmla="*/ 325518 w 658714"/>
                      <a:gd name="connsiteY1" fmla="*/ 857147 h 857184"/>
                      <a:gd name="connsiteX2" fmla="*/ -1 w 658714"/>
                      <a:gd name="connsiteY2" fmla="*/ 463122 h 857184"/>
                      <a:gd name="connsiteX3" fmla="*/ 295518 w 658714"/>
                      <a:gd name="connsiteY3" fmla="*/ -38 h 857184"/>
                      <a:gd name="connsiteX4" fmla="*/ 651037 w 658714"/>
                      <a:gd name="connsiteY4" fmla="*/ 463122 h 8571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58714" h="857184">
                        <a:moveTo>
                          <a:pt x="651037" y="463122"/>
                        </a:moveTo>
                        <a:cubicBezTo>
                          <a:pt x="625336" y="679030"/>
                          <a:pt x="505337" y="857147"/>
                          <a:pt x="325518" y="857147"/>
                        </a:cubicBezTo>
                        <a:cubicBezTo>
                          <a:pt x="145699" y="857147"/>
                          <a:pt x="-1" y="680821"/>
                          <a:pt x="-1" y="463122"/>
                        </a:cubicBezTo>
                        <a:cubicBezTo>
                          <a:pt x="-1" y="245422"/>
                          <a:pt x="115610" y="-38"/>
                          <a:pt x="295518" y="-38"/>
                        </a:cubicBezTo>
                        <a:cubicBezTo>
                          <a:pt x="475427" y="-38"/>
                          <a:pt x="703604" y="21813"/>
                          <a:pt x="651037" y="463122"/>
                        </a:cubicBezTo>
                        <a:close/>
                      </a:path>
                    </a:pathLst>
                  </a:custGeom>
                  <a:solidFill>
                    <a:srgbClr val="F7AF87"/>
                  </a:solidFill>
                  <a:ln w="894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23" name="Graphic 5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44A8AAA2-B581-4BE1-9927-3DDDF7FBAD48}"/>
                      </a:ext>
                    </a:extLst>
                  </p:cNvPr>
                  <p:cNvSpPr/>
                  <p:nvPr/>
                </p:nvSpPr>
                <p:spPr>
                  <a:xfrm>
                    <a:off x="5077312" y="1634014"/>
                    <a:ext cx="851178" cy="755706"/>
                  </a:xfrm>
                  <a:custGeom>
                    <a:avLst/>
                    <a:gdLst>
                      <a:gd name="connsiteX0" fmla="*/ 24073 w 851178"/>
                      <a:gd name="connsiteY0" fmla="*/ 704715 h 755706"/>
                      <a:gd name="connsiteX1" fmla="*/ 521 w 851178"/>
                      <a:gd name="connsiteY1" fmla="*/ 446986 h 755706"/>
                      <a:gd name="connsiteX2" fmla="*/ 25058 w 851178"/>
                      <a:gd name="connsiteY2" fmla="*/ 338360 h 755706"/>
                      <a:gd name="connsiteX3" fmla="*/ 42968 w 851178"/>
                      <a:gd name="connsiteY3" fmla="*/ 317853 h 755706"/>
                      <a:gd name="connsiteX4" fmla="*/ 49863 w 851178"/>
                      <a:gd name="connsiteY4" fmla="*/ 287406 h 755706"/>
                      <a:gd name="connsiteX5" fmla="*/ 186250 w 851178"/>
                      <a:gd name="connsiteY5" fmla="*/ 91199 h 755706"/>
                      <a:gd name="connsiteX6" fmla="*/ 436008 w 851178"/>
                      <a:gd name="connsiteY6" fmla="*/ 1647 h 755706"/>
                      <a:gd name="connsiteX7" fmla="*/ 522336 w 851178"/>
                      <a:gd name="connsiteY7" fmla="*/ 5319 h 755706"/>
                      <a:gd name="connsiteX8" fmla="*/ 603828 w 851178"/>
                      <a:gd name="connsiteY8" fmla="*/ 38005 h 755706"/>
                      <a:gd name="connsiteX9" fmla="*/ 712006 w 851178"/>
                      <a:gd name="connsiteY9" fmla="*/ 122363 h 755706"/>
                      <a:gd name="connsiteX10" fmla="*/ 752304 w 851178"/>
                      <a:gd name="connsiteY10" fmla="*/ 250510 h 755706"/>
                      <a:gd name="connsiteX11" fmla="*/ 836750 w 851178"/>
                      <a:gd name="connsiteY11" fmla="*/ 342032 h 755706"/>
                      <a:gd name="connsiteX12" fmla="*/ 849109 w 851178"/>
                      <a:gd name="connsiteY12" fmla="*/ 472687 h 755706"/>
                      <a:gd name="connsiteX13" fmla="*/ 716931 w 851178"/>
                      <a:gd name="connsiteY13" fmla="*/ 748236 h 755706"/>
                      <a:gd name="connsiteX14" fmla="*/ 669648 w 851178"/>
                      <a:gd name="connsiteY14" fmla="*/ 537164 h 755706"/>
                      <a:gd name="connsiteX15" fmla="*/ 635887 w 851178"/>
                      <a:gd name="connsiteY15" fmla="*/ 468389 h 755706"/>
                      <a:gd name="connsiteX16" fmla="*/ 622275 w 851178"/>
                      <a:gd name="connsiteY16" fmla="*/ 389673 h 755706"/>
                      <a:gd name="connsiteX17" fmla="*/ 533888 w 851178"/>
                      <a:gd name="connsiteY17" fmla="*/ 468478 h 755706"/>
                      <a:gd name="connsiteX18" fmla="*/ 465113 w 851178"/>
                      <a:gd name="connsiteY18" fmla="*/ 493642 h 755706"/>
                      <a:gd name="connsiteX19" fmla="*/ 228876 w 851178"/>
                      <a:gd name="connsiteY19" fmla="*/ 485403 h 755706"/>
                      <a:gd name="connsiteX20" fmla="*/ 140489 w 851178"/>
                      <a:gd name="connsiteY20" fmla="*/ 493642 h 755706"/>
                      <a:gd name="connsiteX21" fmla="*/ 129027 w 851178"/>
                      <a:gd name="connsiteY21" fmla="*/ 550149 h 755706"/>
                      <a:gd name="connsiteX22" fmla="*/ 113713 w 851178"/>
                      <a:gd name="connsiteY22" fmla="*/ 612387 h 755706"/>
                      <a:gd name="connsiteX23" fmla="*/ 66251 w 851178"/>
                      <a:gd name="connsiteY23" fmla="*/ 755669 h 755706"/>
                      <a:gd name="connsiteX24" fmla="*/ 24073 w 851178"/>
                      <a:gd name="connsiteY24" fmla="*/ 704715 h 755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851178" h="755706">
                        <a:moveTo>
                          <a:pt x="24073" y="704715"/>
                        </a:moveTo>
                        <a:cubicBezTo>
                          <a:pt x="12132" y="619283"/>
                          <a:pt x="4282" y="533373"/>
                          <a:pt x="521" y="446986"/>
                        </a:cubicBezTo>
                        <a:cubicBezTo>
                          <a:pt x="-1091" y="408927"/>
                          <a:pt x="-464" y="366390"/>
                          <a:pt x="25058" y="338360"/>
                        </a:cubicBezTo>
                        <a:cubicBezTo>
                          <a:pt x="31783" y="332223"/>
                          <a:pt x="37792" y="325343"/>
                          <a:pt x="42968" y="317853"/>
                        </a:cubicBezTo>
                        <a:cubicBezTo>
                          <a:pt x="47211" y="308244"/>
                          <a:pt x="49553" y="297905"/>
                          <a:pt x="49863" y="287406"/>
                        </a:cubicBezTo>
                        <a:cubicBezTo>
                          <a:pt x="59535" y="205824"/>
                          <a:pt x="118549" y="137676"/>
                          <a:pt x="186250" y="91199"/>
                        </a:cubicBezTo>
                        <a:cubicBezTo>
                          <a:pt x="260433" y="40400"/>
                          <a:pt x="346448" y="9559"/>
                          <a:pt x="436008" y="1647"/>
                        </a:cubicBezTo>
                        <a:cubicBezTo>
                          <a:pt x="464805" y="-1484"/>
                          <a:pt x="493909" y="-246"/>
                          <a:pt x="522336" y="5319"/>
                        </a:cubicBezTo>
                        <a:cubicBezTo>
                          <a:pt x="550913" y="12293"/>
                          <a:pt x="578352" y="23299"/>
                          <a:pt x="603828" y="38005"/>
                        </a:cubicBezTo>
                        <a:cubicBezTo>
                          <a:pt x="644305" y="59945"/>
                          <a:pt x="683260" y="86452"/>
                          <a:pt x="712006" y="122363"/>
                        </a:cubicBezTo>
                        <a:cubicBezTo>
                          <a:pt x="740751" y="158273"/>
                          <a:pt x="758393" y="204929"/>
                          <a:pt x="752304" y="250510"/>
                        </a:cubicBezTo>
                        <a:cubicBezTo>
                          <a:pt x="792213" y="267583"/>
                          <a:pt x="822937" y="300881"/>
                          <a:pt x="836750" y="342032"/>
                        </a:cubicBezTo>
                        <a:cubicBezTo>
                          <a:pt x="849946" y="384243"/>
                          <a:pt x="854156" y="428750"/>
                          <a:pt x="849109" y="472687"/>
                        </a:cubicBezTo>
                        <a:cubicBezTo>
                          <a:pt x="840153" y="577283"/>
                          <a:pt x="800393" y="684655"/>
                          <a:pt x="716931" y="748236"/>
                        </a:cubicBezTo>
                        <a:cubicBezTo>
                          <a:pt x="718274" y="675110"/>
                          <a:pt x="702059" y="602729"/>
                          <a:pt x="669648" y="537164"/>
                        </a:cubicBezTo>
                        <a:cubicBezTo>
                          <a:pt x="657251" y="514818"/>
                          <a:pt x="645983" y="491864"/>
                          <a:pt x="635887" y="468389"/>
                        </a:cubicBezTo>
                        <a:cubicBezTo>
                          <a:pt x="626378" y="443256"/>
                          <a:pt x="621758" y="416539"/>
                          <a:pt x="622275" y="389673"/>
                        </a:cubicBezTo>
                        <a:cubicBezTo>
                          <a:pt x="587350" y="408300"/>
                          <a:pt x="566843" y="446449"/>
                          <a:pt x="533888" y="468478"/>
                        </a:cubicBezTo>
                        <a:cubicBezTo>
                          <a:pt x="512812" y="481248"/>
                          <a:pt x="489453" y="489795"/>
                          <a:pt x="465113" y="493642"/>
                        </a:cubicBezTo>
                        <a:cubicBezTo>
                          <a:pt x="386783" y="509112"/>
                          <a:pt x="305939" y="506292"/>
                          <a:pt x="228876" y="485403"/>
                        </a:cubicBezTo>
                        <a:cubicBezTo>
                          <a:pt x="198429" y="477165"/>
                          <a:pt x="159653" y="468568"/>
                          <a:pt x="140489" y="493642"/>
                        </a:cubicBezTo>
                        <a:cubicBezTo>
                          <a:pt x="128579" y="509135"/>
                          <a:pt x="130639" y="530627"/>
                          <a:pt x="129027" y="550149"/>
                        </a:cubicBezTo>
                        <a:cubicBezTo>
                          <a:pt x="126376" y="571423"/>
                          <a:pt x="121236" y="592312"/>
                          <a:pt x="113713" y="612387"/>
                        </a:cubicBezTo>
                        <a:lnTo>
                          <a:pt x="66251" y="755669"/>
                        </a:lnTo>
                        <a:cubicBezTo>
                          <a:pt x="50132" y="741968"/>
                          <a:pt x="27117" y="725759"/>
                          <a:pt x="24073" y="704715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894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4" name="Graphic 5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C84B3D9E-F739-41FF-867E-05EDAA5A0E9A}"/>
                      </a:ext>
                    </a:extLst>
                  </p:cNvPr>
                  <p:cNvSpPr/>
                  <p:nvPr/>
                </p:nvSpPr>
                <p:spPr>
                  <a:xfrm>
                    <a:off x="5781980" y="2367406"/>
                    <a:ext cx="108760" cy="132803"/>
                  </a:xfrm>
                  <a:custGeom>
                    <a:avLst/>
                    <a:gdLst>
                      <a:gd name="connsiteX0" fmla="*/ 20054 w 108760"/>
                      <a:gd name="connsiteY0" fmla="*/ 73590 h 132803"/>
                      <a:gd name="connsiteX1" fmla="*/ 48263 w 108760"/>
                      <a:gd name="connsiteY1" fmla="*/ 66784 h 132803"/>
                      <a:gd name="connsiteX2" fmla="*/ 59277 w 108760"/>
                      <a:gd name="connsiteY2" fmla="*/ 57829 h 132803"/>
                      <a:gd name="connsiteX3" fmla="*/ 63845 w 108760"/>
                      <a:gd name="connsiteY3" fmla="*/ 17710 h 132803"/>
                      <a:gd name="connsiteX4" fmla="*/ 89008 w 108760"/>
                      <a:gd name="connsiteY4" fmla="*/ 874 h 132803"/>
                      <a:gd name="connsiteX5" fmla="*/ 100292 w 108760"/>
                      <a:gd name="connsiteY5" fmla="*/ 874 h 132803"/>
                      <a:gd name="connsiteX6" fmla="*/ 108531 w 108760"/>
                      <a:gd name="connsiteY6" fmla="*/ 17710 h 132803"/>
                      <a:gd name="connsiteX7" fmla="*/ 83098 w 108760"/>
                      <a:gd name="connsiteY7" fmla="*/ 95978 h 132803"/>
                      <a:gd name="connsiteX8" fmla="*/ 9845 w 108760"/>
                      <a:gd name="connsiteY8" fmla="*/ 132694 h 132803"/>
                      <a:gd name="connsiteX9" fmla="*/ 5636 w 108760"/>
                      <a:gd name="connsiteY9" fmla="*/ 132067 h 132803"/>
                      <a:gd name="connsiteX10" fmla="*/ 2771 w 108760"/>
                      <a:gd name="connsiteY10" fmla="*/ 127947 h 132803"/>
                      <a:gd name="connsiteX11" fmla="*/ 11726 w 108760"/>
                      <a:gd name="connsiteY11" fmla="*/ 79858 h 1328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08760" h="132803">
                        <a:moveTo>
                          <a:pt x="20054" y="73590"/>
                        </a:moveTo>
                        <a:cubicBezTo>
                          <a:pt x="29966" y="74729"/>
                          <a:pt x="39961" y="72317"/>
                          <a:pt x="48263" y="66784"/>
                        </a:cubicBezTo>
                        <a:cubicBezTo>
                          <a:pt x="52605" y="64735"/>
                          <a:pt x="56385" y="61662"/>
                          <a:pt x="59277" y="57829"/>
                        </a:cubicBezTo>
                        <a:cubicBezTo>
                          <a:pt x="66621" y="46277"/>
                          <a:pt x="58561" y="30247"/>
                          <a:pt x="63845" y="17710"/>
                        </a:cubicBezTo>
                        <a:cubicBezTo>
                          <a:pt x="69126" y="8460"/>
                          <a:pt x="78443" y="2227"/>
                          <a:pt x="89008" y="874"/>
                        </a:cubicBezTo>
                        <a:cubicBezTo>
                          <a:pt x="92671" y="-342"/>
                          <a:pt x="96629" y="-342"/>
                          <a:pt x="100292" y="874"/>
                        </a:cubicBezTo>
                        <a:cubicBezTo>
                          <a:pt x="105853" y="4608"/>
                          <a:pt x="108995" y="11028"/>
                          <a:pt x="108531" y="17710"/>
                        </a:cubicBezTo>
                        <a:cubicBezTo>
                          <a:pt x="110354" y="46089"/>
                          <a:pt x="101255" y="74091"/>
                          <a:pt x="83098" y="95978"/>
                        </a:cubicBezTo>
                        <a:cubicBezTo>
                          <a:pt x="64736" y="117728"/>
                          <a:pt x="38259" y="130999"/>
                          <a:pt x="9845" y="132694"/>
                        </a:cubicBezTo>
                        <a:cubicBezTo>
                          <a:pt x="8411" y="132894"/>
                          <a:pt x="6950" y="132677"/>
                          <a:pt x="5636" y="132067"/>
                        </a:cubicBezTo>
                        <a:cubicBezTo>
                          <a:pt x="4197" y="131102"/>
                          <a:pt x="3175" y="129632"/>
                          <a:pt x="2771" y="127947"/>
                        </a:cubicBezTo>
                        <a:cubicBezTo>
                          <a:pt x="-3015" y="111466"/>
                          <a:pt x="395" y="93152"/>
                          <a:pt x="11726" y="79858"/>
                        </a:cubicBezTo>
                      </a:path>
                    </a:pathLst>
                  </a:custGeom>
                  <a:solidFill>
                    <a:srgbClr val="000000">
                      <a:alpha val="36000"/>
                    </a:srgbClr>
                  </a:solidFill>
                  <a:ln w="894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5" name="Graphic 5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2D441829-6B83-41C4-A7EC-D384BC75C065}"/>
                      </a:ext>
                    </a:extLst>
                  </p:cNvPr>
                  <p:cNvSpPr/>
                  <p:nvPr/>
                </p:nvSpPr>
                <p:spPr>
                  <a:xfrm>
                    <a:off x="5074100" y="2369304"/>
                    <a:ext cx="68509" cy="114255"/>
                  </a:xfrm>
                  <a:custGeom>
                    <a:avLst/>
                    <a:gdLst>
                      <a:gd name="connsiteX0" fmla="*/ 25941 w 68509"/>
                      <a:gd name="connsiteY0" fmla="*/ 34707 h 114255"/>
                      <a:gd name="connsiteX1" fmla="*/ 45284 w 68509"/>
                      <a:gd name="connsiteY1" fmla="*/ 48319 h 114255"/>
                      <a:gd name="connsiteX2" fmla="*/ 68388 w 68509"/>
                      <a:gd name="connsiteY2" fmla="*/ 88169 h 114255"/>
                      <a:gd name="connsiteX3" fmla="*/ 53165 w 68509"/>
                      <a:gd name="connsiteY3" fmla="*/ 113602 h 114255"/>
                      <a:gd name="connsiteX4" fmla="*/ 26299 w 68509"/>
                      <a:gd name="connsiteY4" fmla="*/ 101692 h 114255"/>
                      <a:gd name="connsiteX5" fmla="*/ 150 w 68509"/>
                      <a:gd name="connsiteY5" fmla="*/ 27454 h 114255"/>
                      <a:gd name="connsiteX6" fmla="*/ 18866 w 68509"/>
                      <a:gd name="connsiteY6" fmla="*/ 588 h 114255"/>
                      <a:gd name="connsiteX7" fmla="*/ 25941 w 68509"/>
                      <a:gd name="connsiteY7" fmla="*/ 34707 h 1142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8509" h="114255">
                        <a:moveTo>
                          <a:pt x="25941" y="34707"/>
                        </a:moveTo>
                        <a:cubicBezTo>
                          <a:pt x="30060" y="41603"/>
                          <a:pt x="38389" y="44289"/>
                          <a:pt x="45284" y="48319"/>
                        </a:cubicBezTo>
                        <a:cubicBezTo>
                          <a:pt x="59310" y="56761"/>
                          <a:pt x="68030" y="71803"/>
                          <a:pt x="68388" y="88169"/>
                        </a:cubicBezTo>
                        <a:cubicBezTo>
                          <a:pt x="69463" y="99073"/>
                          <a:pt x="63283" y="109398"/>
                          <a:pt x="53165" y="113602"/>
                        </a:cubicBezTo>
                        <a:cubicBezTo>
                          <a:pt x="43224" y="116378"/>
                          <a:pt x="33284" y="109303"/>
                          <a:pt x="26299" y="101692"/>
                        </a:cubicBezTo>
                        <a:cubicBezTo>
                          <a:pt x="8080" y="81394"/>
                          <a:pt x="-1327" y="54689"/>
                          <a:pt x="150" y="27454"/>
                        </a:cubicBezTo>
                        <a:cubicBezTo>
                          <a:pt x="687" y="18498"/>
                          <a:pt x="4538" y="-4069"/>
                          <a:pt x="18866" y="588"/>
                        </a:cubicBezTo>
                        <a:cubicBezTo>
                          <a:pt x="30329" y="4618"/>
                          <a:pt x="20389" y="25394"/>
                          <a:pt x="25941" y="34707"/>
                        </a:cubicBezTo>
                        <a:close/>
                      </a:path>
                    </a:pathLst>
                  </a:custGeom>
                  <a:solidFill>
                    <a:srgbClr val="000000">
                      <a:alpha val="36000"/>
                    </a:srgbClr>
                  </a:solidFill>
                  <a:ln w="894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6" name="Graphic 5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6267DD7E-248D-4543-A497-FE5A07C051B4}"/>
                      </a:ext>
                    </a:extLst>
                  </p:cNvPr>
                  <p:cNvSpPr/>
                  <p:nvPr/>
                </p:nvSpPr>
                <p:spPr>
                  <a:xfrm>
                    <a:off x="5115057" y="2102087"/>
                    <a:ext cx="105034" cy="265962"/>
                  </a:xfrm>
                  <a:custGeom>
                    <a:avLst/>
                    <a:gdLst>
                      <a:gd name="connsiteX0" fmla="*/ 17312 w 105034"/>
                      <a:gd name="connsiteY0" fmla="*/ 28166 h 265962"/>
                      <a:gd name="connsiteX1" fmla="*/ 924 w 105034"/>
                      <a:gd name="connsiteY1" fmla="*/ 73479 h 265962"/>
                      <a:gd name="connsiteX2" fmla="*/ 3432 w 105034"/>
                      <a:gd name="connsiteY2" fmla="*/ 144224 h 265962"/>
                      <a:gd name="connsiteX3" fmla="*/ 16954 w 105034"/>
                      <a:gd name="connsiteY3" fmla="*/ 265925 h 265962"/>
                      <a:gd name="connsiteX4" fmla="*/ 82595 w 105034"/>
                      <a:gd name="connsiteY4" fmla="*/ 97031 h 265962"/>
                      <a:gd name="connsiteX5" fmla="*/ 91013 w 105034"/>
                      <a:gd name="connsiteY5" fmla="*/ 39628 h 265962"/>
                      <a:gd name="connsiteX6" fmla="*/ 103729 w 105034"/>
                      <a:gd name="connsiteY6" fmla="*/ 3808 h 265962"/>
                      <a:gd name="connsiteX7" fmla="*/ 55013 w 105034"/>
                      <a:gd name="connsiteY7" fmla="*/ 4703 h 265962"/>
                      <a:gd name="connsiteX8" fmla="*/ 17312 w 105034"/>
                      <a:gd name="connsiteY8" fmla="*/ 28166 h 2659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5034" h="265962">
                        <a:moveTo>
                          <a:pt x="17312" y="28166"/>
                        </a:moveTo>
                        <a:cubicBezTo>
                          <a:pt x="7729" y="41445"/>
                          <a:pt x="2052" y="57141"/>
                          <a:pt x="924" y="73479"/>
                        </a:cubicBezTo>
                        <a:cubicBezTo>
                          <a:pt x="-882" y="97080"/>
                          <a:pt x="-41" y="120810"/>
                          <a:pt x="3432" y="144224"/>
                        </a:cubicBezTo>
                        <a:lnTo>
                          <a:pt x="16954" y="265925"/>
                        </a:lnTo>
                        <a:cubicBezTo>
                          <a:pt x="33790" y="207716"/>
                          <a:pt x="73550" y="156940"/>
                          <a:pt x="82595" y="97031"/>
                        </a:cubicBezTo>
                        <a:cubicBezTo>
                          <a:pt x="85461" y="77956"/>
                          <a:pt x="84924" y="58076"/>
                          <a:pt x="91013" y="39628"/>
                        </a:cubicBezTo>
                        <a:cubicBezTo>
                          <a:pt x="93700" y="31569"/>
                          <a:pt x="109640" y="11688"/>
                          <a:pt x="103729" y="3808"/>
                        </a:cubicBezTo>
                        <a:cubicBezTo>
                          <a:pt x="97819" y="-4073"/>
                          <a:pt x="63879" y="2196"/>
                          <a:pt x="55013" y="4703"/>
                        </a:cubicBezTo>
                        <a:cubicBezTo>
                          <a:pt x="40319" y="8429"/>
                          <a:pt x="27145" y="16628"/>
                          <a:pt x="17312" y="28166"/>
                        </a:cubicBezTo>
                        <a:close/>
                      </a:path>
                    </a:pathLst>
                  </a:custGeom>
                  <a:solidFill>
                    <a:srgbClr val="000000">
                      <a:alpha val="65000"/>
                    </a:srgbClr>
                  </a:solidFill>
                  <a:ln w="894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7" name="Graphic 5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ED4ADEF4-D8D5-4D41-AD88-62C436B0607F}"/>
                      </a:ext>
                    </a:extLst>
                  </p:cNvPr>
                  <p:cNvSpPr/>
                  <p:nvPr/>
                </p:nvSpPr>
                <p:spPr>
                  <a:xfrm>
                    <a:off x="5698676" y="1926149"/>
                    <a:ext cx="167536" cy="394528"/>
                  </a:xfrm>
                  <a:custGeom>
                    <a:avLst/>
                    <a:gdLst>
                      <a:gd name="connsiteX0" fmla="*/ 102373 w 167536"/>
                      <a:gd name="connsiteY0" fmla="*/ 913 h 394528"/>
                      <a:gd name="connsiteX1" fmla="*/ 106851 w 167536"/>
                      <a:gd name="connsiteY1" fmla="*/ 17 h 394528"/>
                      <a:gd name="connsiteX2" fmla="*/ 111060 w 167536"/>
                      <a:gd name="connsiteY2" fmla="*/ 4136 h 394528"/>
                      <a:gd name="connsiteX3" fmla="*/ 161656 w 167536"/>
                      <a:gd name="connsiteY3" fmla="*/ 115090 h 394528"/>
                      <a:gd name="connsiteX4" fmla="*/ 167298 w 167536"/>
                      <a:gd name="connsiteY4" fmla="*/ 182164 h 394528"/>
                      <a:gd name="connsiteX5" fmla="*/ 99687 w 167536"/>
                      <a:gd name="connsiteY5" fmla="*/ 394491 h 394528"/>
                      <a:gd name="connsiteX6" fmla="*/ 85448 w 167536"/>
                      <a:gd name="connsiteY6" fmla="*/ 308342 h 394528"/>
                      <a:gd name="connsiteX7" fmla="*/ 34404 w 167536"/>
                      <a:gd name="connsiteY7" fmla="*/ 201687 h 394528"/>
                      <a:gd name="connsiteX8" fmla="*/ 7986 w 167536"/>
                      <a:gd name="connsiteY8" fmla="*/ 83210 h 394528"/>
                      <a:gd name="connsiteX9" fmla="*/ 102373 w 167536"/>
                      <a:gd name="connsiteY9" fmla="*/ 913 h 3945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67536" h="394528">
                        <a:moveTo>
                          <a:pt x="102373" y="913"/>
                        </a:moveTo>
                        <a:cubicBezTo>
                          <a:pt x="103730" y="140"/>
                          <a:pt x="105301" y="-174"/>
                          <a:pt x="106851" y="17"/>
                        </a:cubicBezTo>
                        <a:cubicBezTo>
                          <a:pt x="108821" y="465"/>
                          <a:pt x="109985" y="2345"/>
                          <a:pt x="111060" y="4136"/>
                        </a:cubicBezTo>
                        <a:cubicBezTo>
                          <a:pt x="131657" y="39330"/>
                          <a:pt x="152612" y="75240"/>
                          <a:pt x="161656" y="115090"/>
                        </a:cubicBezTo>
                        <a:cubicBezTo>
                          <a:pt x="166353" y="137122"/>
                          <a:pt x="168248" y="159658"/>
                          <a:pt x="167298" y="182164"/>
                        </a:cubicBezTo>
                        <a:cubicBezTo>
                          <a:pt x="164994" y="257858"/>
                          <a:pt x="141575" y="331401"/>
                          <a:pt x="99687" y="394491"/>
                        </a:cubicBezTo>
                        <a:cubicBezTo>
                          <a:pt x="91269" y="366640"/>
                          <a:pt x="92164" y="336730"/>
                          <a:pt x="85448" y="308342"/>
                        </a:cubicBezTo>
                        <a:cubicBezTo>
                          <a:pt x="76493" y="269835"/>
                          <a:pt x="54015" y="236074"/>
                          <a:pt x="34404" y="201687"/>
                        </a:cubicBezTo>
                        <a:cubicBezTo>
                          <a:pt x="16494" y="170344"/>
                          <a:pt x="-14760" y="117419"/>
                          <a:pt x="7986" y="83210"/>
                        </a:cubicBezTo>
                        <a:cubicBezTo>
                          <a:pt x="30582" y="47017"/>
                          <a:pt x="63439" y="18368"/>
                          <a:pt x="102373" y="913"/>
                        </a:cubicBezTo>
                        <a:close/>
                      </a:path>
                    </a:pathLst>
                  </a:custGeom>
                  <a:solidFill>
                    <a:srgbClr val="000000">
                      <a:alpha val="69000"/>
                    </a:srgbClr>
                  </a:solidFill>
                  <a:ln w="894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8" name="Graphic 5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588CB643-5AEB-4537-8DE3-679A508A176F}"/>
                      </a:ext>
                    </a:extLst>
                  </p:cNvPr>
                  <p:cNvSpPr/>
                  <p:nvPr/>
                </p:nvSpPr>
                <p:spPr>
                  <a:xfrm>
                    <a:off x="5210984" y="2771187"/>
                    <a:ext cx="469529" cy="333152"/>
                  </a:xfrm>
                  <a:custGeom>
                    <a:avLst/>
                    <a:gdLst>
                      <a:gd name="connsiteX0" fmla="*/ 56519 w 469529"/>
                      <a:gd name="connsiteY0" fmla="*/ 20670 h 333152"/>
                      <a:gd name="connsiteX1" fmla="*/ 203741 w 469529"/>
                      <a:gd name="connsiteY1" fmla="*/ 210967 h 333152"/>
                      <a:gd name="connsiteX2" fmla="*/ 419201 w 469529"/>
                      <a:gd name="connsiteY2" fmla="*/ 56580 h 333152"/>
                      <a:gd name="connsiteX3" fmla="*/ 440783 w 469529"/>
                      <a:gd name="connsiteY3" fmla="*/ 2850 h 333152"/>
                      <a:gd name="connsiteX4" fmla="*/ 469529 w 469529"/>
                      <a:gd name="connsiteY4" fmla="*/ 20760 h 333152"/>
                      <a:gd name="connsiteX5" fmla="*/ 469529 w 469529"/>
                      <a:gd name="connsiteY5" fmla="*/ 304458 h 333152"/>
                      <a:gd name="connsiteX6" fmla="*/ 250487 w 469529"/>
                      <a:gd name="connsiteY6" fmla="*/ 272041 h 333152"/>
                      <a:gd name="connsiteX7" fmla="*/ 35027 w 469529"/>
                      <a:gd name="connsiteY7" fmla="*/ 333115 h 333152"/>
                      <a:gd name="connsiteX8" fmla="*/ 9862 w 469529"/>
                      <a:gd name="connsiteY8" fmla="*/ 2671 h 3331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9529" h="333152">
                        <a:moveTo>
                          <a:pt x="56519" y="20670"/>
                        </a:moveTo>
                        <a:cubicBezTo>
                          <a:pt x="56519" y="20670"/>
                          <a:pt x="88847" y="175057"/>
                          <a:pt x="203741" y="210967"/>
                        </a:cubicBezTo>
                        <a:cubicBezTo>
                          <a:pt x="318635" y="246877"/>
                          <a:pt x="415619" y="131983"/>
                          <a:pt x="419201" y="56580"/>
                        </a:cubicBezTo>
                        <a:cubicBezTo>
                          <a:pt x="422783" y="-18822"/>
                          <a:pt x="440783" y="2850"/>
                          <a:pt x="440783" y="2850"/>
                        </a:cubicBezTo>
                        <a:lnTo>
                          <a:pt x="469529" y="20760"/>
                        </a:lnTo>
                        <a:lnTo>
                          <a:pt x="469529" y="304458"/>
                        </a:lnTo>
                        <a:lnTo>
                          <a:pt x="250487" y="272041"/>
                        </a:lnTo>
                        <a:lnTo>
                          <a:pt x="35027" y="333115"/>
                        </a:lnTo>
                        <a:cubicBezTo>
                          <a:pt x="35027" y="333115"/>
                          <a:pt x="-22466" y="74491"/>
                          <a:pt x="9862" y="2671"/>
                        </a:cubicBezTo>
                      </a:path>
                    </a:pathLst>
                  </a:custGeom>
                  <a:solidFill>
                    <a:schemeClr val="bg1">
                      <a:lumMod val="95000"/>
                    </a:schemeClr>
                  </a:solidFill>
                  <a:ln w="894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16" name="TextBox 115">
                  <a:extLst>
                    <a:ext uri="{FF2B5EF4-FFF2-40B4-BE49-F238E27FC236}">
                      <a16:creationId xmlns:a16="http://schemas.microsoft.com/office/drawing/2014/main" id="{A2F62271-37B5-46A3-817A-18F1231AD413}"/>
                    </a:ext>
                  </a:extLst>
                </p:cNvPr>
                <p:cNvSpPr txBox="1"/>
                <p:nvPr/>
              </p:nvSpPr>
              <p:spPr>
                <a:xfrm>
                  <a:off x="594571" y="2008178"/>
                  <a:ext cx="943512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/>
                    <a:t>User</a:t>
                  </a:r>
                </a:p>
              </p:txBody>
            </p: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E2AB3872-A66E-49F8-911D-1AE9DBE6FFDF}"/>
                  </a:ext>
                </a:extLst>
              </p:cNvPr>
              <p:cNvGrpSpPr/>
              <p:nvPr/>
            </p:nvGrpSpPr>
            <p:grpSpPr>
              <a:xfrm>
                <a:off x="1876868" y="1105747"/>
                <a:ext cx="1966944" cy="1351288"/>
                <a:chOff x="1926723" y="814690"/>
                <a:chExt cx="2062046" cy="1475432"/>
              </a:xfrm>
            </p:grpSpPr>
            <p:grpSp>
              <p:nvGrpSpPr>
                <p:cNvPr id="102" name="Group 101">
                  <a:extLst>
                    <a:ext uri="{FF2B5EF4-FFF2-40B4-BE49-F238E27FC236}">
                      <a16:creationId xmlns:a16="http://schemas.microsoft.com/office/drawing/2014/main" id="{F9C923F1-76FC-473A-A091-D20376F147F2}"/>
                    </a:ext>
                  </a:extLst>
                </p:cNvPr>
                <p:cNvGrpSpPr/>
                <p:nvPr/>
              </p:nvGrpSpPr>
              <p:grpSpPr>
                <a:xfrm>
                  <a:off x="2265611" y="814690"/>
                  <a:ext cx="460015" cy="1007584"/>
                  <a:chOff x="3221844" y="1642139"/>
                  <a:chExt cx="1230434" cy="2838150"/>
                </a:xfrm>
              </p:grpSpPr>
              <p:sp>
                <p:nvSpPr>
                  <p:cNvPr id="104" name="Graphic 354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8225CF9F-F8B1-488A-9AA1-1775AEC026A7}"/>
                      </a:ext>
                    </a:extLst>
                  </p:cNvPr>
                  <p:cNvSpPr/>
                  <p:nvPr/>
                </p:nvSpPr>
                <p:spPr>
                  <a:xfrm>
                    <a:off x="3221844" y="2058357"/>
                    <a:ext cx="1230434" cy="2421932"/>
                  </a:xfrm>
                  <a:custGeom>
                    <a:avLst/>
                    <a:gdLst>
                      <a:gd name="connsiteX0" fmla="*/ 1230360 w 1230434"/>
                      <a:gd name="connsiteY0" fmla="*/ 1896567 h 2421932"/>
                      <a:gd name="connsiteX1" fmla="*/ 1230360 w 1230434"/>
                      <a:gd name="connsiteY1" fmla="*/ 2405314 h 2421932"/>
                      <a:gd name="connsiteX2" fmla="*/ 658327 w 1230434"/>
                      <a:gd name="connsiteY2" fmla="*/ 2392614 h 2421932"/>
                      <a:gd name="connsiteX3" fmla="*/ 623855 w 1230434"/>
                      <a:gd name="connsiteY3" fmla="*/ 2057291 h 2421932"/>
                      <a:gd name="connsiteX4" fmla="*/ 421829 w 1230434"/>
                      <a:gd name="connsiteY4" fmla="*/ 1824316 h 2421932"/>
                      <a:gd name="connsiteX5" fmla="*/ 287145 w 1230434"/>
                      <a:gd name="connsiteY5" fmla="*/ 1290702 h 2421932"/>
                      <a:gd name="connsiteX6" fmla="*/ 77328 w 1230434"/>
                      <a:gd name="connsiteY6" fmla="*/ 1047268 h 2421932"/>
                      <a:gd name="connsiteX7" fmla="*/ 56624 w 1230434"/>
                      <a:gd name="connsiteY7" fmla="*/ 902018 h 2421932"/>
                      <a:gd name="connsiteX8" fmla="*/ 362171 w 1230434"/>
                      <a:gd name="connsiteY8" fmla="*/ 1016105 h 2421932"/>
                      <a:gd name="connsiteX9" fmla="*/ 292374 w 1230434"/>
                      <a:gd name="connsiteY9" fmla="*/ 917813 h 2421932"/>
                      <a:gd name="connsiteX10" fmla="*/ 46165 w 1230434"/>
                      <a:gd name="connsiteY10" fmla="*/ 759650 h 2421932"/>
                      <a:gd name="connsiteX11" fmla="*/ 22899 w 1230434"/>
                      <a:gd name="connsiteY11" fmla="*/ 599566 h 2421932"/>
                      <a:gd name="connsiteX12" fmla="*/ 411477 w 1230434"/>
                      <a:gd name="connsiteY12" fmla="*/ 741080 h 2421932"/>
                      <a:gd name="connsiteX13" fmla="*/ 447656 w 1230434"/>
                      <a:gd name="connsiteY13" fmla="*/ 710131 h 2421932"/>
                      <a:gd name="connsiteX14" fmla="*/ 297497 w 1230434"/>
                      <a:gd name="connsiteY14" fmla="*/ 637559 h 2421932"/>
                      <a:gd name="connsiteX15" fmla="*/ 58972 w 1230434"/>
                      <a:gd name="connsiteY15" fmla="*/ 492417 h 2421932"/>
                      <a:gd name="connsiteX16" fmla="*/ 7425 w 1230434"/>
                      <a:gd name="connsiteY16" fmla="*/ 264670 h 2421932"/>
                      <a:gd name="connsiteX17" fmla="*/ 572095 w 1230434"/>
                      <a:gd name="connsiteY17" fmla="*/ 523580 h 2421932"/>
                      <a:gd name="connsiteX18" fmla="*/ 504753 w 1230434"/>
                      <a:gd name="connsiteY18" fmla="*/ 378650 h 2421932"/>
                      <a:gd name="connsiteX19" fmla="*/ 74767 w 1230434"/>
                      <a:gd name="connsiteY19" fmla="*/ 186549 h 2421932"/>
                      <a:gd name="connsiteX20" fmla="*/ 7425 w 1230434"/>
                      <a:gd name="connsiteY20" fmla="*/ -2 h 2421932"/>
                      <a:gd name="connsiteX21" fmla="*/ 774227 w 1230434"/>
                      <a:gd name="connsiteY21" fmla="*/ 212590 h 2421932"/>
                      <a:gd name="connsiteX22" fmla="*/ 1162591 w 1230434"/>
                      <a:gd name="connsiteY22" fmla="*/ 922189 h 2421932"/>
                      <a:gd name="connsiteX23" fmla="*/ 1230360 w 1230434"/>
                      <a:gd name="connsiteY23" fmla="*/ 1896567 h 2421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1230434" h="2421932">
                        <a:moveTo>
                          <a:pt x="1230360" y="1896567"/>
                        </a:moveTo>
                        <a:lnTo>
                          <a:pt x="1230360" y="2405314"/>
                        </a:lnTo>
                        <a:cubicBezTo>
                          <a:pt x="1040202" y="2431130"/>
                          <a:pt x="847151" y="2426840"/>
                          <a:pt x="658327" y="2392614"/>
                        </a:cubicBezTo>
                        <a:cubicBezTo>
                          <a:pt x="654271" y="2312252"/>
                          <a:pt x="643492" y="2139254"/>
                          <a:pt x="623855" y="2057291"/>
                        </a:cubicBezTo>
                        <a:cubicBezTo>
                          <a:pt x="597921" y="1948434"/>
                          <a:pt x="504859" y="1922501"/>
                          <a:pt x="421829" y="1824316"/>
                        </a:cubicBezTo>
                        <a:cubicBezTo>
                          <a:pt x="338799" y="1726131"/>
                          <a:pt x="307849" y="1352495"/>
                          <a:pt x="287145" y="1290702"/>
                        </a:cubicBezTo>
                        <a:cubicBezTo>
                          <a:pt x="266441" y="1228910"/>
                          <a:pt x="142215" y="1119946"/>
                          <a:pt x="77328" y="1047268"/>
                        </a:cubicBezTo>
                        <a:cubicBezTo>
                          <a:pt x="39452" y="1008559"/>
                          <a:pt x="31074" y="949766"/>
                          <a:pt x="56624" y="902018"/>
                        </a:cubicBezTo>
                        <a:cubicBezTo>
                          <a:pt x="56624" y="902018"/>
                          <a:pt x="362171" y="1047268"/>
                          <a:pt x="362171" y="1016105"/>
                        </a:cubicBezTo>
                        <a:cubicBezTo>
                          <a:pt x="362171" y="984942"/>
                          <a:pt x="292374" y="917813"/>
                          <a:pt x="292374" y="917813"/>
                        </a:cubicBezTo>
                        <a:cubicBezTo>
                          <a:pt x="292374" y="917813"/>
                          <a:pt x="110946" y="832435"/>
                          <a:pt x="46165" y="759650"/>
                        </a:cubicBezTo>
                        <a:cubicBezTo>
                          <a:pt x="-18616" y="686865"/>
                          <a:pt x="22899" y="599566"/>
                          <a:pt x="22899" y="599566"/>
                        </a:cubicBezTo>
                        <a:lnTo>
                          <a:pt x="411477" y="741080"/>
                        </a:lnTo>
                        <a:lnTo>
                          <a:pt x="447656" y="710131"/>
                        </a:lnTo>
                        <a:lnTo>
                          <a:pt x="297497" y="637559"/>
                        </a:lnTo>
                        <a:cubicBezTo>
                          <a:pt x="297497" y="637559"/>
                          <a:pt x="147018" y="559759"/>
                          <a:pt x="58972" y="492417"/>
                        </a:cubicBezTo>
                        <a:cubicBezTo>
                          <a:pt x="-29074" y="425075"/>
                          <a:pt x="7425" y="264670"/>
                          <a:pt x="7425" y="264670"/>
                        </a:cubicBezTo>
                        <a:lnTo>
                          <a:pt x="572095" y="523580"/>
                        </a:lnTo>
                        <a:lnTo>
                          <a:pt x="504753" y="378650"/>
                        </a:lnTo>
                        <a:cubicBezTo>
                          <a:pt x="504753" y="378650"/>
                          <a:pt x="168042" y="274916"/>
                          <a:pt x="74767" y="186549"/>
                        </a:cubicBezTo>
                        <a:cubicBezTo>
                          <a:pt x="-18509" y="98183"/>
                          <a:pt x="7425" y="-2"/>
                          <a:pt x="7425" y="-2"/>
                        </a:cubicBezTo>
                        <a:cubicBezTo>
                          <a:pt x="7425" y="-2"/>
                          <a:pt x="686181" y="160616"/>
                          <a:pt x="774227" y="212590"/>
                        </a:cubicBezTo>
                        <a:cubicBezTo>
                          <a:pt x="862274" y="264564"/>
                          <a:pt x="1152346" y="891346"/>
                          <a:pt x="1162591" y="922189"/>
                        </a:cubicBezTo>
                        <a:cubicBezTo>
                          <a:pt x="1172837" y="953032"/>
                          <a:pt x="1230360" y="1896567"/>
                          <a:pt x="1230360" y="1896567"/>
                        </a:cubicBezTo>
                        <a:close/>
                      </a:path>
                    </a:pathLst>
                  </a:custGeom>
                  <a:solidFill>
                    <a:srgbClr val="F7AF87"/>
                  </a:solidFill>
                  <a:ln w="1064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5" name="Graphic 354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27226C08-1775-4977-9AF8-877A50C73130}"/>
                      </a:ext>
                    </a:extLst>
                  </p:cNvPr>
                  <p:cNvSpPr/>
                  <p:nvPr/>
                </p:nvSpPr>
                <p:spPr>
                  <a:xfrm>
                    <a:off x="3530752" y="3347987"/>
                    <a:ext cx="399332" cy="460436"/>
                  </a:xfrm>
                  <a:custGeom>
                    <a:avLst/>
                    <a:gdLst>
                      <a:gd name="connsiteX0" fmla="*/ 399258 w 399332"/>
                      <a:gd name="connsiteY0" fmla="*/ 146535 h 460436"/>
                      <a:gd name="connsiteX1" fmla="*/ 308651 w 399332"/>
                      <a:gd name="connsiteY1" fmla="*/ 460087 h 460436"/>
                      <a:gd name="connsiteX2" fmla="*/ 8119 w 399332"/>
                      <a:gd name="connsiteY2" fmla="*/ 149203 h 460436"/>
                      <a:gd name="connsiteX3" fmla="*/ 399258 w 399332"/>
                      <a:gd name="connsiteY3" fmla="*/ 146535 h 4604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99332" h="460436">
                        <a:moveTo>
                          <a:pt x="399258" y="146535"/>
                        </a:moveTo>
                        <a:lnTo>
                          <a:pt x="308651" y="460087"/>
                        </a:lnTo>
                        <a:cubicBezTo>
                          <a:pt x="308651" y="460087"/>
                          <a:pt x="83252" y="483352"/>
                          <a:pt x="8119" y="149203"/>
                        </a:cubicBezTo>
                        <a:cubicBezTo>
                          <a:pt x="-67013" y="-184945"/>
                          <a:pt x="399258" y="146535"/>
                          <a:pt x="399258" y="146535"/>
                        </a:cubicBezTo>
                        <a:close/>
                      </a:path>
                    </a:pathLst>
                  </a:custGeom>
                  <a:solidFill>
                    <a:srgbClr val="000000">
                      <a:alpha val="37000"/>
                    </a:srgbClr>
                  </a:solidFill>
                  <a:ln w="1064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6" name="Graphic 354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8FB47991-8176-4BB4-9CCB-3160480809E3}"/>
                      </a:ext>
                    </a:extLst>
                  </p:cNvPr>
                  <p:cNvSpPr/>
                  <p:nvPr/>
                </p:nvSpPr>
                <p:spPr>
                  <a:xfrm>
                    <a:off x="3317496" y="1644060"/>
                    <a:ext cx="931582" cy="1854947"/>
                  </a:xfrm>
                  <a:custGeom>
                    <a:avLst/>
                    <a:gdLst>
                      <a:gd name="connsiteX0" fmla="*/ 767550 w 931582"/>
                      <a:gd name="connsiteY0" fmla="*/ 0 h 1854947"/>
                      <a:gd name="connsiteX1" fmla="*/ 931583 w 931582"/>
                      <a:gd name="connsiteY1" fmla="*/ 0 h 1854947"/>
                      <a:gd name="connsiteX2" fmla="*/ 931583 w 931582"/>
                      <a:gd name="connsiteY2" fmla="*/ 1854947 h 1854947"/>
                      <a:gd name="connsiteX3" fmla="*/ 767550 w 931582"/>
                      <a:gd name="connsiteY3" fmla="*/ 1854947 h 1854947"/>
                      <a:gd name="connsiteX4" fmla="*/ 164033 w 931582"/>
                      <a:gd name="connsiteY4" fmla="*/ 1854947 h 1854947"/>
                      <a:gd name="connsiteX5" fmla="*/ 0 w 931582"/>
                      <a:gd name="connsiteY5" fmla="*/ 1854947 h 1854947"/>
                      <a:gd name="connsiteX6" fmla="*/ 0 w 931582"/>
                      <a:gd name="connsiteY6" fmla="*/ 0 h 1854947"/>
                      <a:gd name="connsiteX7" fmla="*/ 164033 w 931582"/>
                      <a:gd name="connsiteY7" fmla="*/ 0 h 18549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931582" h="1854947">
                        <a:moveTo>
                          <a:pt x="767550" y="0"/>
                        </a:moveTo>
                        <a:cubicBezTo>
                          <a:pt x="858143" y="0"/>
                          <a:pt x="931583" y="0"/>
                          <a:pt x="931583" y="0"/>
                        </a:cubicBezTo>
                        <a:lnTo>
                          <a:pt x="931583" y="1854947"/>
                        </a:lnTo>
                        <a:cubicBezTo>
                          <a:pt x="931583" y="1854947"/>
                          <a:pt x="858143" y="1854947"/>
                          <a:pt x="767550" y="1854947"/>
                        </a:cubicBezTo>
                        <a:lnTo>
                          <a:pt x="164033" y="1854947"/>
                        </a:lnTo>
                        <a:cubicBezTo>
                          <a:pt x="73440" y="1854947"/>
                          <a:pt x="0" y="1854947"/>
                          <a:pt x="0" y="1854947"/>
                        </a:cubicBezTo>
                        <a:lnTo>
                          <a:pt x="0" y="0"/>
                        </a:lnTo>
                        <a:cubicBezTo>
                          <a:pt x="0" y="0"/>
                          <a:pt x="73440" y="0"/>
                          <a:pt x="164033" y="0"/>
                        </a:cubicBezTo>
                        <a:close/>
                      </a:path>
                    </a:pathLst>
                  </a:custGeom>
                  <a:solidFill>
                    <a:srgbClr val="0B274F"/>
                  </a:solidFill>
                  <a:ln w="1064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7" name="Graphic 354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65880ACD-92C0-4F3C-9937-27CB5758939D}"/>
                      </a:ext>
                    </a:extLst>
                  </p:cNvPr>
                  <p:cNvSpPr/>
                  <p:nvPr/>
                </p:nvSpPr>
                <p:spPr>
                  <a:xfrm>
                    <a:off x="3317496" y="1644060"/>
                    <a:ext cx="931582" cy="1854947"/>
                  </a:xfrm>
                  <a:custGeom>
                    <a:avLst/>
                    <a:gdLst>
                      <a:gd name="connsiteX0" fmla="*/ 767550 w 931582"/>
                      <a:gd name="connsiteY0" fmla="*/ 0 h 1854947"/>
                      <a:gd name="connsiteX1" fmla="*/ 931583 w 931582"/>
                      <a:gd name="connsiteY1" fmla="*/ 0 h 1854947"/>
                      <a:gd name="connsiteX2" fmla="*/ 931583 w 931582"/>
                      <a:gd name="connsiteY2" fmla="*/ 1854947 h 1854947"/>
                      <a:gd name="connsiteX3" fmla="*/ 767550 w 931582"/>
                      <a:gd name="connsiteY3" fmla="*/ 1854947 h 1854947"/>
                      <a:gd name="connsiteX4" fmla="*/ 164033 w 931582"/>
                      <a:gd name="connsiteY4" fmla="*/ 1854947 h 1854947"/>
                      <a:gd name="connsiteX5" fmla="*/ 0 w 931582"/>
                      <a:gd name="connsiteY5" fmla="*/ 1854947 h 1854947"/>
                      <a:gd name="connsiteX6" fmla="*/ 0 w 931582"/>
                      <a:gd name="connsiteY6" fmla="*/ 0 h 1854947"/>
                      <a:gd name="connsiteX7" fmla="*/ 164033 w 931582"/>
                      <a:gd name="connsiteY7" fmla="*/ 0 h 18549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931582" h="1854947">
                        <a:moveTo>
                          <a:pt x="767550" y="0"/>
                        </a:moveTo>
                        <a:cubicBezTo>
                          <a:pt x="858143" y="0"/>
                          <a:pt x="931583" y="0"/>
                          <a:pt x="931583" y="0"/>
                        </a:cubicBezTo>
                        <a:lnTo>
                          <a:pt x="931583" y="1854947"/>
                        </a:lnTo>
                        <a:cubicBezTo>
                          <a:pt x="931583" y="1854947"/>
                          <a:pt x="858143" y="1854947"/>
                          <a:pt x="767550" y="1854947"/>
                        </a:cubicBezTo>
                        <a:lnTo>
                          <a:pt x="164033" y="1854947"/>
                        </a:lnTo>
                        <a:cubicBezTo>
                          <a:pt x="73440" y="1854947"/>
                          <a:pt x="0" y="1854947"/>
                          <a:pt x="0" y="1854947"/>
                        </a:cubicBezTo>
                        <a:lnTo>
                          <a:pt x="0" y="0"/>
                        </a:lnTo>
                        <a:cubicBezTo>
                          <a:pt x="0" y="0"/>
                          <a:pt x="73440" y="0"/>
                          <a:pt x="164033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1064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8" name="Graphic 354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170FD76B-5511-4FE3-9208-A0984382CA25}"/>
                      </a:ext>
                    </a:extLst>
                  </p:cNvPr>
                  <p:cNvSpPr/>
                  <p:nvPr/>
                </p:nvSpPr>
                <p:spPr>
                  <a:xfrm>
                    <a:off x="3317496" y="1642139"/>
                    <a:ext cx="931582" cy="1815459"/>
                  </a:xfrm>
                  <a:custGeom>
                    <a:avLst/>
                    <a:gdLst>
                      <a:gd name="connsiteX0" fmla="*/ 769257 w 931582"/>
                      <a:gd name="connsiteY0" fmla="*/ 0 h 1815459"/>
                      <a:gd name="connsiteX1" fmla="*/ 931583 w 931582"/>
                      <a:gd name="connsiteY1" fmla="*/ 0 h 1815459"/>
                      <a:gd name="connsiteX2" fmla="*/ 931583 w 931582"/>
                      <a:gd name="connsiteY2" fmla="*/ 1815460 h 1815459"/>
                      <a:gd name="connsiteX3" fmla="*/ 769257 w 931582"/>
                      <a:gd name="connsiteY3" fmla="*/ 1815460 h 1815459"/>
                      <a:gd name="connsiteX4" fmla="*/ 162325 w 931582"/>
                      <a:gd name="connsiteY4" fmla="*/ 1815460 h 1815459"/>
                      <a:gd name="connsiteX5" fmla="*/ 0 w 931582"/>
                      <a:gd name="connsiteY5" fmla="*/ 1815460 h 1815459"/>
                      <a:gd name="connsiteX6" fmla="*/ 0 w 931582"/>
                      <a:gd name="connsiteY6" fmla="*/ 0 h 1815459"/>
                      <a:gd name="connsiteX7" fmla="*/ 162325 w 931582"/>
                      <a:gd name="connsiteY7" fmla="*/ 0 h 1815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931582" h="1815459">
                        <a:moveTo>
                          <a:pt x="769257" y="0"/>
                        </a:moveTo>
                        <a:cubicBezTo>
                          <a:pt x="858907" y="0"/>
                          <a:pt x="931583" y="0"/>
                          <a:pt x="931583" y="0"/>
                        </a:cubicBezTo>
                        <a:lnTo>
                          <a:pt x="931583" y="1815460"/>
                        </a:lnTo>
                        <a:cubicBezTo>
                          <a:pt x="931583" y="1815460"/>
                          <a:pt x="858907" y="1815460"/>
                          <a:pt x="769257" y="1815460"/>
                        </a:cubicBezTo>
                        <a:lnTo>
                          <a:pt x="162325" y="1815460"/>
                        </a:lnTo>
                        <a:cubicBezTo>
                          <a:pt x="72676" y="1815460"/>
                          <a:pt x="0" y="1815460"/>
                          <a:pt x="0" y="1815460"/>
                        </a:cubicBezTo>
                        <a:lnTo>
                          <a:pt x="0" y="0"/>
                        </a:lnTo>
                        <a:cubicBezTo>
                          <a:pt x="0" y="0"/>
                          <a:pt x="72676" y="0"/>
                          <a:pt x="162325" y="0"/>
                        </a:cubicBezTo>
                        <a:close/>
                      </a:path>
                    </a:pathLst>
                  </a:custGeom>
                  <a:solidFill>
                    <a:srgbClr val="0B274F"/>
                  </a:solidFill>
                  <a:ln w="1064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9" name="Graphic 354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8E72D06B-812D-47E2-B2E7-88CC99D55845}"/>
                      </a:ext>
                    </a:extLst>
                  </p:cNvPr>
                  <p:cNvSpPr/>
                  <p:nvPr/>
                </p:nvSpPr>
                <p:spPr>
                  <a:xfrm>
                    <a:off x="3366802" y="1684081"/>
                    <a:ext cx="837880" cy="1629868"/>
                  </a:xfrm>
                  <a:custGeom>
                    <a:avLst/>
                    <a:gdLst>
                      <a:gd name="connsiteX0" fmla="*/ 691990 w 837880"/>
                      <a:gd name="connsiteY0" fmla="*/ 0 h 1629868"/>
                      <a:gd name="connsiteX1" fmla="*/ 837880 w 837880"/>
                      <a:gd name="connsiteY1" fmla="*/ 0 h 1629868"/>
                      <a:gd name="connsiteX2" fmla="*/ 837880 w 837880"/>
                      <a:gd name="connsiteY2" fmla="*/ 1629869 h 1629868"/>
                      <a:gd name="connsiteX3" fmla="*/ 691990 w 837880"/>
                      <a:gd name="connsiteY3" fmla="*/ 1629869 h 1629868"/>
                      <a:gd name="connsiteX4" fmla="*/ 145890 w 837880"/>
                      <a:gd name="connsiteY4" fmla="*/ 1629869 h 1629868"/>
                      <a:gd name="connsiteX5" fmla="*/ 0 w 837880"/>
                      <a:gd name="connsiteY5" fmla="*/ 1629869 h 1629868"/>
                      <a:gd name="connsiteX6" fmla="*/ 0 w 837880"/>
                      <a:gd name="connsiteY6" fmla="*/ 0 h 1629868"/>
                      <a:gd name="connsiteX7" fmla="*/ 145890 w 837880"/>
                      <a:gd name="connsiteY7" fmla="*/ 0 h 1629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37880" h="1629868">
                        <a:moveTo>
                          <a:pt x="691990" y="0"/>
                        </a:moveTo>
                        <a:cubicBezTo>
                          <a:pt x="772563" y="0"/>
                          <a:pt x="837880" y="0"/>
                          <a:pt x="837880" y="0"/>
                        </a:cubicBezTo>
                        <a:lnTo>
                          <a:pt x="837880" y="1629869"/>
                        </a:lnTo>
                        <a:cubicBezTo>
                          <a:pt x="837880" y="1629869"/>
                          <a:pt x="772563" y="1629869"/>
                          <a:pt x="691990" y="1629869"/>
                        </a:cubicBezTo>
                        <a:lnTo>
                          <a:pt x="145890" y="1629869"/>
                        </a:lnTo>
                        <a:cubicBezTo>
                          <a:pt x="65317" y="1629869"/>
                          <a:pt x="0" y="1629869"/>
                          <a:pt x="0" y="1629869"/>
                        </a:cubicBezTo>
                        <a:lnTo>
                          <a:pt x="0" y="0"/>
                        </a:lnTo>
                        <a:cubicBezTo>
                          <a:pt x="0" y="0"/>
                          <a:pt x="65317" y="0"/>
                          <a:pt x="14589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064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10" name="Graphic 354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B405326B-80D2-4F70-8757-C45918AE6970}"/>
                      </a:ext>
                    </a:extLst>
                  </p:cNvPr>
                  <p:cNvSpPr/>
                  <p:nvPr/>
                </p:nvSpPr>
                <p:spPr>
                  <a:xfrm>
                    <a:off x="3812317" y="2781839"/>
                    <a:ext cx="622360" cy="1250978"/>
                  </a:xfrm>
                  <a:custGeom>
                    <a:avLst/>
                    <a:gdLst>
                      <a:gd name="connsiteX0" fmla="*/ 497199 w 622360"/>
                      <a:gd name="connsiteY0" fmla="*/ 439260 h 1250978"/>
                      <a:gd name="connsiteX1" fmla="*/ 331032 w 622360"/>
                      <a:gd name="connsiteY1" fmla="*/ 177896 h 1250978"/>
                      <a:gd name="connsiteX2" fmla="*/ 79060 w 622360"/>
                      <a:gd name="connsiteY2" fmla="*/ 5005 h 1250978"/>
                      <a:gd name="connsiteX3" fmla="*/ 9476 w 622360"/>
                      <a:gd name="connsiteY3" fmla="*/ 14824 h 1250978"/>
                      <a:gd name="connsiteX4" fmla="*/ 1259 w 622360"/>
                      <a:gd name="connsiteY4" fmla="*/ 65623 h 1250978"/>
                      <a:gd name="connsiteX5" fmla="*/ 65826 w 622360"/>
                      <a:gd name="connsiteY5" fmla="*/ 228269 h 1250978"/>
                      <a:gd name="connsiteX6" fmla="*/ 149603 w 622360"/>
                      <a:gd name="connsiteY6" fmla="*/ 334245 h 1250978"/>
                      <a:gd name="connsiteX7" fmla="*/ 180660 w 622360"/>
                      <a:gd name="connsiteY7" fmla="*/ 461778 h 1250978"/>
                      <a:gd name="connsiteX8" fmla="*/ 217052 w 622360"/>
                      <a:gd name="connsiteY8" fmla="*/ 1177674 h 1250978"/>
                      <a:gd name="connsiteX9" fmla="*/ 275429 w 622360"/>
                      <a:gd name="connsiteY9" fmla="*/ 1228047 h 1250978"/>
                      <a:gd name="connsiteX10" fmla="*/ 344052 w 622360"/>
                      <a:gd name="connsiteY10" fmla="*/ 1243949 h 1250978"/>
                      <a:gd name="connsiteX11" fmla="*/ 465609 w 622360"/>
                      <a:gd name="connsiteY11" fmla="*/ 1250566 h 1250978"/>
                      <a:gd name="connsiteX12" fmla="*/ 543517 w 622360"/>
                      <a:gd name="connsiteY12" fmla="*/ 1238933 h 1250978"/>
                      <a:gd name="connsiteX13" fmla="*/ 622278 w 622360"/>
                      <a:gd name="connsiteY13" fmla="*/ 1038828 h 1250978"/>
                      <a:gd name="connsiteX14" fmla="*/ 497199 w 622360"/>
                      <a:gd name="connsiteY14" fmla="*/ 439260 h 12509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622360" h="1250978">
                        <a:moveTo>
                          <a:pt x="497199" y="439260"/>
                        </a:moveTo>
                        <a:cubicBezTo>
                          <a:pt x="448214" y="348225"/>
                          <a:pt x="397947" y="256764"/>
                          <a:pt x="331032" y="177896"/>
                        </a:cubicBezTo>
                        <a:cubicBezTo>
                          <a:pt x="264117" y="99028"/>
                          <a:pt x="178632" y="32540"/>
                          <a:pt x="79060" y="5005"/>
                        </a:cubicBezTo>
                        <a:cubicBezTo>
                          <a:pt x="55154" y="-1719"/>
                          <a:pt x="25698" y="-4387"/>
                          <a:pt x="9476" y="14824"/>
                        </a:cubicBezTo>
                        <a:cubicBezTo>
                          <a:pt x="-1196" y="28484"/>
                          <a:pt x="-1196" y="48121"/>
                          <a:pt x="1259" y="65623"/>
                        </a:cubicBezTo>
                        <a:cubicBezTo>
                          <a:pt x="9380" y="124246"/>
                          <a:pt x="31536" y="180041"/>
                          <a:pt x="65826" y="228269"/>
                        </a:cubicBezTo>
                        <a:cubicBezTo>
                          <a:pt x="91973" y="264982"/>
                          <a:pt x="124737" y="296678"/>
                          <a:pt x="149603" y="334245"/>
                        </a:cubicBezTo>
                        <a:cubicBezTo>
                          <a:pt x="174470" y="371811"/>
                          <a:pt x="191545" y="418129"/>
                          <a:pt x="180660" y="461778"/>
                        </a:cubicBezTo>
                        <a:cubicBezTo>
                          <a:pt x="118974" y="708308"/>
                          <a:pt x="53553" y="983118"/>
                          <a:pt x="217052" y="1177674"/>
                        </a:cubicBezTo>
                        <a:cubicBezTo>
                          <a:pt x="232804" y="1198336"/>
                          <a:pt x="252687" y="1215497"/>
                          <a:pt x="275429" y="1228047"/>
                        </a:cubicBezTo>
                        <a:cubicBezTo>
                          <a:pt x="297222" y="1237247"/>
                          <a:pt x="320434" y="1242626"/>
                          <a:pt x="344052" y="1243949"/>
                        </a:cubicBezTo>
                        <a:cubicBezTo>
                          <a:pt x="384532" y="1248079"/>
                          <a:pt x="425055" y="1250278"/>
                          <a:pt x="465609" y="1250566"/>
                        </a:cubicBezTo>
                        <a:cubicBezTo>
                          <a:pt x="492109" y="1252337"/>
                          <a:pt x="518683" y="1248367"/>
                          <a:pt x="543517" y="1238933"/>
                        </a:cubicBezTo>
                        <a:cubicBezTo>
                          <a:pt x="612887" y="1207663"/>
                          <a:pt x="622598" y="1114921"/>
                          <a:pt x="622278" y="1038828"/>
                        </a:cubicBezTo>
                        <a:cubicBezTo>
                          <a:pt x="621424" y="829331"/>
                          <a:pt x="596345" y="623997"/>
                          <a:pt x="497199" y="439260"/>
                        </a:cubicBezTo>
                        <a:close/>
                      </a:path>
                    </a:pathLst>
                  </a:custGeom>
                  <a:solidFill>
                    <a:srgbClr val="F7AF87"/>
                  </a:solidFill>
                  <a:ln w="1064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1" name="Graphic 354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A8BA5B58-30BC-417C-8220-CD4BA0C1C914}"/>
                      </a:ext>
                    </a:extLst>
                  </p:cNvPr>
                  <p:cNvSpPr/>
                  <p:nvPr/>
                </p:nvSpPr>
                <p:spPr>
                  <a:xfrm>
                    <a:off x="3402486" y="2070296"/>
                    <a:ext cx="802196" cy="581474"/>
                  </a:xfrm>
                  <a:custGeom>
                    <a:avLst/>
                    <a:gdLst>
                      <a:gd name="connsiteX0" fmla="*/ 233039 w 802196"/>
                      <a:gd name="connsiteY0" fmla="*/ 562297 h 581474"/>
                      <a:gd name="connsiteX1" fmla="*/ 12763 w 802196"/>
                      <a:gd name="connsiteY1" fmla="*/ 318436 h 581474"/>
                      <a:gd name="connsiteX2" fmla="*/ 9134 w 802196"/>
                      <a:gd name="connsiteY2" fmla="*/ 258244 h 581474"/>
                      <a:gd name="connsiteX3" fmla="*/ 72848 w 802196"/>
                      <a:gd name="connsiteY3" fmla="*/ 250795 h 581474"/>
                      <a:gd name="connsiteX4" fmla="*/ 78397 w 802196"/>
                      <a:gd name="connsiteY4" fmla="*/ 256003 h 581474"/>
                      <a:gd name="connsiteX5" fmla="*/ 255344 w 802196"/>
                      <a:gd name="connsiteY5" fmla="*/ 451412 h 581474"/>
                      <a:gd name="connsiteX6" fmla="*/ 298758 w 802196"/>
                      <a:gd name="connsiteY6" fmla="*/ 453526 h 581474"/>
                      <a:gd name="connsiteX7" fmla="*/ 300167 w 802196"/>
                      <a:gd name="connsiteY7" fmla="*/ 452160 h 581474"/>
                      <a:gd name="connsiteX8" fmla="*/ 724603 w 802196"/>
                      <a:gd name="connsiteY8" fmla="*/ 13849 h 581474"/>
                      <a:gd name="connsiteX9" fmla="*/ 788893 w 802196"/>
                      <a:gd name="connsiteY9" fmla="*/ 12788 h 581474"/>
                      <a:gd name="connsiteX10" fmla="*/ 793760 w 802196"/>
                      <a:gd name="connsiteY10" fmla="*/ 18332 h 581474"/>
                      <a:gd name="connsiteX11" fmla="*/ 788210 w 802196"/>
                      <a:gd name="connsiteY11" fmla="*/ 78523 h 581474"/>
                      <a:gd name="connsiteX12" fmla="*/ 318630 w 802196"/>
                      <a:gd name="connsiteY12" fmla="*/ 563578 h 581474"/>
                      <a:gd name="connsiteX13" fmla="*/ 235632 w 802196"/>
                      <a:gd name="connsiteY13" fmla="*/ 564965 h 581474"/>
                      <a:gd name="connsiteX14" fmla="*/ 233039 w 802196"/>
                      <a:gd name="connsiteY14" fmla="*/ 562297 h 581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802196" h="581474">
                        <a:moveTo>
                          <a:pt x="233039" y="562297"/>
                        </a:moveTo>
                        <a:lnTo>
                          <a:pt x="12763" y="318436"/>
                        </a:lnTo>
                        <a:cubicBezTo>
                          <a:pt x="-2872" y="301905"/>
                          <a:pt x="-4398" y="276537"/>
                          <a:pt x="9134" y="258244"/>
                        </a:cubicBezTo>
                        <a:cubicBezTo>
                          <a:pt x="24673" y="238597"/>
                          <a:pt x="53200" y="235267"/>
                          <a:pt x="72848" y="250795"/>
                        </a:cubicBezTo>
                        <a:cubicBezTo>
                          <a:pt x="74843" y="252375"/>
                          <a:pt x="76700" y="254114"/>
                          <a:pt x="78397" y="256003"/>
                        </a:cubicBezTo>
                        <a:lnTo>
                          <a:pt x="255344" y="451412"/>
                        </a:lnTo>
                        <a:cubicBezTo>
                          <a:pt x="266752" y="463984"/>
                          <a:pt x="286186" y="464924"/>
                          <a:pt x="298758" y="453526"/>
                        </a:cubicBezTo>
                        <a:cubicBezTo>
                          <a:pt x="299238" y="453077"/>
                          <a:pt x="299708" y="452629"/>
                          <a:pt x="300167" y="452160"/>
                        </a:cubicBezTo>
                        <a:lnTo>
                          <a:pt x="724603" y="13849"/>
                        </a:lnTo>
                        <a:cubicBezTo>
                          <a:pt x="742063" y="-4196"/>
                          <a:pt x="770846" y="-4671"/>
                          <a:pt x="788893" y="12788"/>
                        </a:cubicBezTo>
                        <a:cubicBezTo>
                          <a:pt x="790665" y="14500"/>
                          <a:pt x="792287" y="16354"/>
                          <a:pt x="793760" y="18332"/>
                        </a:cubicBezTo>
                        <a:cubicBezTo>
                          <a:pt x="806737" y="37089"/>
                          <a:pt x="804400" y="62455"/>
                          <a:pt x="788210" y="78523"/>
                        </a:cubicBezTo>
                        <a:lnTo>
                          <a:pt x="318630" y="563578"/>
                        </a:lnTo>
                        <a:cubicBezTo>
                          <a:pt x="296090" y="586886"/>
                          <a:pt x="258929" y="587505"/>
                          <a:pt x="235632" y="564965"/>
                        </a:cubicBezTo>
                        <a:cubicBezTo>
                          <a:pt x="234735" y="564101"/>
                          <a:pt x="233871" y="563215"/>
                          <a:pt x="233039" y="562297"/>
                        </a:cubicBezTo>
                        <a:close/>
                      </a:path>
                    </a:pathLst>
                  </a:custGeom>
                  <a:solidFill>
                    <a:srgbClr val="0B274F"/>
                  </a:solidFill>
                  <a:ln w="1064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2" name="Graphic 354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65470BDC-DE30-4E77-83D1-F243D1DD773E}"/>
                      </a:ext>
                    </a:extLst>
                  </p:cNvPr>
                  <p:cNvSpPr/>
                  <p:nvPr/>
                </p:nvSpPr>
                <p:spPr>
                  <a:xfrm>
                    <a:off x="4246197" y="2694638"/>
                    <a:ext cx="60191" cy="410047"/>
                  </a:xfrm>
                  <a:custGeom>
                    <a:avLst/>
                    <a:gdLst>
                      <a:gd name="connsiteX0" fmla="*/ -75 w 60191"/>
                      <a:gd name="connsiteY0" fmla="*/ 406078 h 410047"/>
                      <a:gd name="connsiteX1" fmla="*/ 27140 w 60191"/>
                      <a:gd name="connsiteY1" fmla="*/ 396366 h 410047"/>
                      <a:gd name="connsiteX2" fmla="*/ 60117 w 60191"/>
                      <a:gd name="connsiteY2" fmla="*/ 122409 h 410047"/>
                      <a:gd name="connsiteX3" fmla="*/ -75 w 60191"/>
                      <a:gd name="connsiteY3" fmla="*/ -2 h 4100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191" h="410047">
                        <a:moveTo>
                          <a:pt x="-75" y="406078"/>
                        </a:moveTo>
                        <a:cubicBezTo>
                          <a:pt x="-75" y="406078"/>
                          <a:pt x="21270" y="419738"/>
                          <a:pt x="27140" y="396366"/>
                        </a:cubicBezTo>
                        <a:cubicBezTo>
                          <a:pt x="33010" y="372994"/>
                          <a:pt x="60117" y="122409"/>
                          <a:pt x="60117" y="122409"/>
                        </a:cubicBezTo>
                        <a:lnTo>
                          <a:pt x="-75" y="-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1064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3" name="Graphic 354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A26D7FAC-993B-464C-A64C-606D346C9A56}"/>
                      </a:ext>
                    </a:extLst>
                  </p:cNvPr>
                  <p:cNvSpPr/>
                  <p:nvPr/>
                </p:nvSpPr>
                <p:spPr>
                  <a:xfrm>
                    <a:off x="3641933" y="3364963"/>
                    <a:ext cx="279826" cy="48558"/>
                  </a:xfrm>
                  <a:custGeom>
                    <a:avLst/>
                    <a:gdLst>
                      <a:gd name="connsiteX0" fmla="*/ 255494 w 279826"/>
                      <a:gd name="connsiteY0" fmla="*/ 0 h 48558"/>
                      <a:gd name="connsiteX1" fmla="*/ 279827 w 279826"/>
                      <a:gd name="connsiteY1" fmla="*/ 0 h 48558"/>
                      <a:gd name="connsiteX2" fmla="*/ 279827 w 279826"/>
                      <a:gd name="connsiteY2" fmla="*/ 48559 h 48558"/>
                      <a:gd name="connsiteX3" fmla="*/ 255494 w 279826"/>
                      <a:gd name="connsiteY3" fmla="*/ 48559 h 48558"/>
                      <a:gd name="connsiteX4" fmla="*/ 24333 w 279826"/>
                      <a:gd name="connsiteY4" fmla="*/ 48559 h 48558"/>
                      <a:gd name="connsiteX5" fmla="*/ 0 w 279826"/>
                      <a:gd name="connsiteY5" fmla="*/ 48559 h 48558"/>
                      <a:gd name="connsiteX6" fmla="*/ 0 w 279826"/>
                      <a:gd name="connsiteY6" fmla="*/ 0 h 48558"/>
                      <a:gd name="connsiteX7" fmla="*/ 24333 w 279826"/>
                      <a:gd name="connsiteY7" fmla="*/ 0 h 48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79826" h="48558">
                        <a:moveTo>
                          <a:pt x="255494" y="0"/>
                        </a:moveTo>
                        <a:cubicBezTo>
                          <a:pt x="268933" y="0"/>
                          <a:pt x="279827" y="0"/>
                          <a:pt x="279827" y="0"/>
                        </a:cubicBezTo>
                        <a:lnTo>
                          <a:pt x="279827" y="48559"/>
                        </a:lnTo>
                        <a:cubicBezTo>
                          <a:pt x="279827" y="48559"/>
                          <a:pt x="268933" y="48559"/>
                          <a:pt x="255494" y="48559"/>
                        </a:cubicBezTo>
                        <a:lnTo>
                          <a:pt x="24333" y="48559"/>
                        </a:lnTo>
                        <a:cubicBezTo>
                          <a:pt x="10894" y="48559"/>
                          <a:pt x="0" y="48559"/>
                          <a:pt x="0" y="48559"/>
                        </a:cubicBezTo>
                        <a:lnTo>
                          <a:pt x="0" y="0"/>
                        </a:lnTo>
                        <a:cubicBezTo>
                          <a:pt x="0" y="0"/>
                          <a:pt x="10894" y="0"/>
                          <a:pt x="24333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1064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4" name="Graphic 354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3E87D266-D4B1-40D4-A29E-FA29D909D1C3}"/>
                      </a:ext>
                    </a:extLst>
                  </p:cNvPr>
                  <p:cNvSpPr/>
                  <p:nvPr/>
                </p:nvSpPr>
                <p:spPr>
                  <a:xfrm>
                    <a:off x="3450483" y="2148759"/>
                    <a:ext cx="607252" cy="607252"/>
                  </a:xfrm>
                  <a:custGeom>
                    <a:avLst/>
                    <a:gdLst>
                      <a:gd name="connsiteX0" fmla="*/ 607252 w 607252"/>
                      <a:gd name="connsiteY0" fmla="*/ 303626 h 607252"/>
                      <a:gd name="connsiteX1" fmla="*/ 303626 w 607252"/>
                      <a:gd name="connsiteY1" fmla="*/ 607252 h 607252"/>
                      <a:gd name="connsiteX2" fmla="*/ 0 w 607252"/>
                      <a:gd name="connsiteY2" fmla="*/ 303626 h 607252"/>
                      <a:gd name="connsiteX3" fmla="*/ 303626 w 607252"/>
                      <a:gd name="connsiteY3" fmla="*/ 0 h 607252"/>
                      <a:gd name="connsiteX4" fmla="*/ 607252 w 607252"/>
                      <a:gd name="connsiteY4" fmla="*/ 303626 h 607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7252" h="607252">
                        <a:moveTo>
                          <a:pt x="607252" y="303626"/>
                        </a:moveTo>
                        <a:cubicBezTo>
                          <a:pt x="607252" y="471314"/>
                          <a:pt x="471314" y="607252"/>
                          <a:pt x="303626" y="607252"/>
                        </a:cubicBezTo>
                        <a:cubicBezTo>
                          <a:pt x="135938" y="607252"/>
                          <a:pt x="0" y="471314"/>
                          <a:pt x="0" y="303626"/>
                        </a:cubicBezTo>
                        <a:cubicBezTo>
                          <a:pt x="0" y="135938"/>
                          <a:pt x="135938" y="0"/>
                          <a:pt x="303626" y="0"/>
                        </a:cubicBezTo>
                        <a:cubicBezTo>
                          <a:pt x="471314" y="0"/>
                          <a:pt x="607252" y="135938"/>
                          <a:pt x="607252" y="303626"/>
                        </a:cubicBezTo>
                        <a:close/>
                      </a:path>
                    </a:pathLst>
                  </a:custGeom>
                  <a:solidFill>
                    <a:srgbClr val="0B274F">
                      <a:alpha val="18000"/>
                    </a:srgbClr>
                  </a:solidFill>
                  <a:ln w="1064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E9310FE2-1237-439A-9CE3-E6F6CB495D77}"/>
                    </a:ext>
                  </a:extLst>
                </p:cNvPr>
                <p:cNvSpPr txBox="1"/>
                <p:nvPr/>
              </p:nvSpPr>
              <p:spPr>
                <a:xfrm>
                  <a:off x="1926723" y="1786044"/>
                  <a:ext cx="2062046" cy="50407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/>
                    <a:t>           Policy </a:t>
                  </a:r>
                </a:p>
                <a:p>
                  <a:r>
                    <a:rPr lang="en-US" sz="1200" dirty="0"/>
                    <a:t>(AC &amp; Privacy Settings)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4BD3C7F8-B85D-4664-BBD8-7569A7CB13FD}"/>
                  </a:ext>
                </a:extLst>
              </p:cNvPr>
              <p:cNvGrpSpPr/>
              <p:nvPr/>
            </p:nvGrpSpPr>
            <p:grpSpPr>
              <a:xfrm>
                <a:off x="-2068" y="1048912"/>
                <a:ext cx="8887860" cy="3383764"/>
                <a:chOff x="127220" y="760832"/>
                <a:chExt cx="9317604" cy="3694632"/>
              </a:xfrm>
            </p:grpSpPr>
            <p:grpSp>
              <p:nvGrpSpPr>
                <p:cNvPr id="91" name="Group 90">
                  <a:extLst>
                    <a:ext uri="{FF2B5EF4-FFF2-40B4-BE49-F238E27FC236}">
                      <a16:creationId xmlns:a16="http://schemas.microsoft.com/office/drawing/2014/main" id="{E10A5E8B-5337-42A4-9F9E-37BD798FD539}"/>
                    </a:ext>
                  </a:extLst>
                </p:cNvPr>
                <p:cNvGrpSpPr/>
                <p:nvPr/>
              </p:nvGrpSpPr>
              <p:grpSpPr>
                <a:xfrm>
                  <a:off x="7364113" y="760832"/>
                  <a:ext cx="653001" cy="938335"/>
                  <a:chOff x="7791164" y="543974"/>
                  <a:chExt cx="1660602" cy="2461262"/>
                </a:xfrm>
              </p:grpSpPr>
              <p:sp>
                <p:nvSpPr>
                  <p:cNvPr id="93" name="Graphic 352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6FE018C1-D8AA-40F4-B287-FBC5C1045AEC}"/>
                      </a:ext>
                    </a:extLst>
                  </p:cNvPr>
                  <p:cNvSpPr/>
                  <p:nvPr/>
                </p:nvSpPr>
                <p:spPr>
                  <a:xfrm>
                    <a:off x="7791164" y="543974"/>
                    <a:ext cx="1643857" cy="2461262"/>
                  </a:xfrm>
                  <a:custGeom>
                    <a:avLst/>
                    <a:gdLst>
                      <a:gd name="connsiteX0" fmla="*/ 0 w 1613520"/>
                      <a:gd name="connsiteY0" fmla="*/ 0 h 2417919"/>
                      <a:gd name="connsiteX1" fmla="*/ 1613520 w 1613520"/>
                      <a:gd name="connsiteY1" fmla="*/ 0 h 2417919"/>
                      <a:gd name="connsiteX2" fmla="*/ 1613520 w 1613520"/>
                      <a:gd name="connsiteY2" fmla="*/ 2417919 h 2417919"/>
                      <a:gd name="connsiteX3" fmla="*/ 0 w 1613520"/>
                      <a:gd name="connsiteY3" fmla="*/ 2417919 h 24179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13520" h="2417919">
                        <a:moveTo>
                          <a:pt x="0" y="0"/>
                        </a:moveTo>
                        <a:lnTo>
                          <a:pt x="1613520" y="0"/>
                        </a:lnTo>
                        <a:lnTo>
                          <a:pt x="1613520" y="2417919"/>
                        </a:lnTo>
                        <a:lnTo>
                          <a:pt x="0" y="2417919"/>
                        </a:lnTo>
                        <a:close/>
                      </a:path>
                    </a:pathLst>
                  </a:custGeom>
                  <a:solidFill>
                    <a:srgbClr val="010101">
                      <a:alpha val="96000"/>
                    </a:srgbClr>
                  </a:solidFill>
                  <a:ln w="74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4" name="Graphic 352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694A3338-3759-4364-8903-A027E2F4591F}"/>
                      </a:ext>
                    </a:extLst>
                  </p:cNvPr>
                  <p:cNvSpPr/>
                  <p:nvPr/>
                </p:nvSpPr>
                <p:spPr>
                  <a:xfrm>
                    <a:off x="7807909" y="568206"/>
                    <a:ext cx="1643857" cy="2381620"/>
                  </a:xfrm>
                  <a:custGeom>
                    <a:avLst/>
                    <a:gdLst>
                      <a:gd name="connsiteX0" fmla="*/ 1620217 w 1620238"/>
                      <a:gd name="connsiteY0" fmla="*/ -7 h 2410949"/>
                      <a:gd name="connsiteX1" fmla="*/ 1620217 w 1620238"/>
                      <a:gd name="connsiteY1" fmla="*/ 2410943 h 2410949"/>
                      <a:gd name="connsiteX2" fmla="*/ 208827 w 1620238"/>
                      <a:gd name="connsiteY2" fmla="*/ 2410943 h 2410949"/>
                      <a:gd name="connsiteX3" fmla="*/ 2875 w 1620238"/>
                      <a:gd name="connsiteY3" fmla="*/ 2040108 h 2410949"/>
                      <a:gd name="connsiteX4" fmla="*/ 13217 w 1620238"/>
                      <a:gd name="connsiteY4" fmla="*/ -7 h 24109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20238" h="2410949">
                        <a:moveTo>
                          <a:pt x="1620217" y="-7"/>
                        </a:moveTo>
                        <a:lnTo>
                          <a:pt x="1620217" y="2410943"/>
                        </a:lnTo>
                        <a:lnTo>
                          <a:pt x="208827" y="2410943"/>
                        </a:lnTo>
                        <a:cubicBezTo>
                          <a:pt x="208827" y="2410943"/>
                          <a:pt x="13217" y="2369797"/>
                          <a:pt x="2875" y="2040108"/>
                        </a:cubicBezTo>
                        <a:cubicBezTo>
                          <a:pt x="-7468" y="1710419"/>
                          <a:pt x="13217" y="-7"/>
                          <a:pt x="13217" y="-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7488" cap="flat">
                    <a:solidFill>
                      <a:schemeClr val="tx1">
                        <a:lumMod val="75000"/>
                        <a:lumOff val="25000"/>
                      </a:schemeClr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95" name="Graphic 352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89C79F81-4A73-4DBD-88CC-67A6F129C677}"/>
                      </a:ext>
                    </a:extLst>
                  </p:cNvPr>
                  <p:cNvSpPr/>
                  <p:nvPr/>
                </p:nvSpPr>
                <p:spPr>
                  <a:xfrm>
                    <a:off x="7810801" y="2608320"/>
                    <a:ext cx="325716" cy="370834"/>
                  </a:xfrm>
                  <a:custGeom>
                    <a:avLst/>
                    <a:gdLst>
                      <a:gd name="connsiteX0" fmla="*/ 325696 w 325716"/>
                      <a:gd name="connsiteY0" fmla="*/ 368504 h 370834"/>
                      <a:gd name="connsiteX1" fmla="*/ 322923 w 325716"/>
                      <a:gd name="connsiteY1" fmla="*/ 370828 h 370834"/>
                      <a:gd name="connsiteX2" fmla="*/ 205931 w 325716"/>
                      <a:gd name="connsiteY2" fmla="*/ 370828 h 370834"/>
                      <a:gd name="connsiteX3" fmla="*/ -21 w 325716"/>
                      <a:gd name="connsiteY3" fmla="*/ -7 h 370834"/>
                      <a:gd name="connsiteX4" fmla="*/ 311531 w 325716"/>
                      <a:gd name="connsiteY4" fmla="*/ 174393 h 370834"/>
                      <a:gd name="connsiteX5" fmla="*/ 325696 w 325716"/>
                      <a:gd name="connsiteY5" fmla="*/ 368504 h 3708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25716" h="370834">
                        <a:moveTo>
                          <a:pt x="325696" y="368504"/>
                        </a:moveTo>
                        <a:cubicBezTo>
                          <a:pt x="324729" y="369231"/>
                          <a:pt x="323807" y="370003"/>
                          <a:pt x="322923" y="370828"/>
                        </a:cubicBezTo>
                        <a:lnTo>
                          <a:pt x="205931" y="370828"/>
                        </a:lnTo>
                        <a:cubicBezTo>
                          <a:pt x="205931" y="370828"/>
                          <a:pt x="10321" y="329682"/>
                          <a:pt x="-21" y="-7"/>
                        </a:cubicBezTo>
                        <a:cubicBezTo>
                          <a:pt x="-21" y="-7"/>
                          <a:pt x="70353" y="221834"/>
                          <a:pt x="311531" y="174393"/>
                        </a:cubicBezTo>
                        <a:cubicBezTo>
                          <a:pt x="311531" y="174393"/>
                          <a:pt x="183747" y="382669"/>
                          <a:pt x="325696" y="36850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74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6" name="Graphic 352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F54A6378-CB73-4154-AA6D-23F3298C32F1}"/>
                      </a:ext>
                    </a:extLst>
                  </p:cNvPr>
                  <p:cNvSpPr/>
                  <p:nvPr/>
                </p:nvSpPr>
                <p:spPr>
                  <a:xfrm>
                    <a:off x="7810801" y="2608320"/>
                    <a:ext cx="325716" cy="370834"/>
                  </a:xfrm>
                  <a:custGeom>
                    <a:avLst/>
                    <a:gdLst>
                      <a:gd name="connsiteX0" fmla="*/ 325696 w 325716"/>
                      <a:gd name="connsiteY0" fmla="*/ 368504 h 370834"/>
                      <a:gd name="connsiteX1" fmla="*/ 322923 w 325716"/>
                      <a:gd name="connsiteY1" fmla="*/ 370828 h 370834"/>
                      <a:gd name="connsiteX2" fmla="*/ 205931 w 325716"/>
                      <a:gd name="connsiteY2" fmla="*/ 370828 h 370834"/>
                      <a:gd name="connsiteX3" fmla="*/ -21 w 325716"/>
                      <a:gd name="connsiteY3" fmla="*/ -7 h 370834"/>
                      <a:gd name="connsiteX4" fmla="*/ 311531 w 325716"/>
                      <a:gd name="connsiteY4" fmla="*/ 174393 h 370834"/>
                      <a:gd name="connsiteX5" fmla="*/ 325696 w 325716"/>
                      <a:gd name="connsiteY5" fmla="*/ 368504 h 3708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25716" h="370834">
                        <a:moveTo>
                          <a:pt x="325696" y="368504"/>
                        </a:moveTo>
                        <a:cubicBezTo>
                          <a:pt x="324729" y="369231"/>
                          <a:pt x="323807" y="370003"/>
                          <a:pt x="322923" y="370828"/>
                        </a:cubicBezTo>
                        <a:lnTo>
                          <a:pt x="205931" y="370828"/>
                        </a:lnTo>
                        <a:cubicBezTo>
                          <a:pt x="205931" y="370828"/>
                          <a:pt x="10321" y="329682"/>
                          <a:pt x="-21" y="-7"/>
                        </a:cubicBezTo>
                        <a:cubicBezTo>
                          <a:pt x="-21" y="-7"/>
                          <a:pt x="70353" y="221834"/>
                          <a:pt x="311531" y="174393"/>
                        </a:cubicBezTo>
                        <a:cubicBezTo>
                          <a:pt x="311531" y="174393"/>
                          <a:pt x="183747" y="382669"/>
                          <a:pt x="325696" y="368504"/>
                        </a:cubicBezTo>
                        <a:close/>
                      </a:path>
                    </a:pathLst>
                  </a:custGeom>
                  <a:solidFill>
                    <a:srgbClr val="010101">
                      <a:alpha val="36000"/>
                    </a:srgbClr>
                  </a:solidFill>
                  <a:ln w="74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97" name="Graphic 352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351579BF-772C-4B9A-880C-DB49B13F3535}"/>
                      </a:ext>
                    </a:extLst>
                  </p:cNvPr>
                  <p:cNvSpPr/>
                  <p:nvPr/>
                </p:nvSpPr>
                <p:spPr>
                  <a:xfrm>
                    <a:off x="8056100" y="1077016"/>
                    <a:ext cx="1192396" cy="42569"/>
                  </a:xfrm>
                  <a:custGeom>
                    <a:avLst/>
                    <a:gdLst>
                      <a:gd name="connsiteX0" fmla="*/ 1171112 w 1192396"/>
                      <a:gd name="connsiteY0" fmla="*/ 0 h 42569"/>
                      <a:gd name="connsiteX1" fmla="*/ 1192397 w 1192396"/>
                      <a:gd name="connsiteY1" fmla="*/ 0 h 42569"/>
                      <a:gd name="connsiteX2" fmla="*/ 1192397 w 1192396"/>
                      <a:gd name="connsiteY2" fmla="*/ 42569 h 42569"/>
                      <a:gd name="connsiteX3" fmla="*/ 1171112 w 1192396"/>
                      <a:gd name="connsiteY3" fmla="*/ 42569 h 42569"/>
                      <a:gd name="connsiteX4" fmla="*/ 21285 w 1192396"/>
                      <a:gd name="connsiteY4" fmla="*/ 42569 h 42569"/>
                      <a:gd name="connsiteX5" fmla="*/ 0 w 1192396"/>
                      <a:gd name="connsiteY5" fmla="*/ 42569 h 42569"/>
                      <a:gd name="connsiteX6" fmla="*/ 0 w 1192396"/>
                      <a:gd name="connsiteY6" fmla="*/ 0 h 42569"/>
                      <a:gd name="connsiteX7" fmla="*/ 21285 w 1192396"/>
                      <a:gd name="connsiteY7" fmla="*/ 0 h 425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92396" h="42569">
                        <a:moveTo>
                          <a:pt x="1171112" y="0"/>
                        </a:moveTo>
                        <a:cubicBezTo>
                          <a:pt x="1182867" y="0"/>
                          <a:pt x="1192397" y="0"/>
                          <a:pt x="1192397" y="0"/>
                        </a:cubicBezTo>
                        <a:lnTo>
                          <a:pt x="1192397" y="42569"/>
                        </a:lnTo>
                        <a:cubicBezTo>
                          <a:pt x="1192397" y="42569"/>
                          <a:pt x="1182867" y="42569"/>
                          <a:pt x="1171112" y="42569"/>
                        </a:cubicBezTo>
                        <a:lnTo>
                          <a:pt x="21285" y="42569"/>
                        </a:lnTo>
                        <a:cubicBezTo>
                          <a:pt x="9530" y="42569"/>
                          <a:pt x="0" y="42569"/>
                          <a:pt x="0" y="42569"/>
                        </a:cubicBezTo>
                        <a:lnTo>
                          <a:pt x="0" y="0"/>
                        </a:lnTo>
                        <a:cubicBezTo>
                          <a:pt x="0" y="0"/>
                          <a:pt x="9530" y="0"/>
                          <a:pt x="21285" y="0"/>
                        </a:cubicBezTo>
                        <a:close/>
                      </a:path>
                    </a:pathLst>
                  </a:custGeom>
                  <a:solidFill>
                    <a:schemeClr val="tx1">
                      <a:lumMod val="65000"/>
                      <a:lumOff val="35000"/>
                    </a:schemeClr>
                  </a:solidFill>
                  <a:ln w="74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8" name="Graphic 352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3EFEFADD-1950-468F-8034-5963670ADF71}"/>
                      </a:ext>
                    </a:extLst>
                  </p:cNvPr>
                  <p:cNvSpPr/>
                  <p:nvPr/>
                </p:nvSpPr>
                <p:spPr>
                  <a:xfrm>
                    <a:off x="8056100" y="1204799"/>
                    <a:ext cx="1192396" cy="42569"/>
                  </a:xfrm>
                  <a:custGeom>
                    <a:avLst/>
                    <a:gdLst>
                      <a:gd name="connsiteX0" fmla="*/ 1171112 w 1192396"/>
                      <a:gd name="connsiteY0" fmla="*/ 0 h 42569"/>
                      <a:gd name="connsiteX1" fmla="*/ 1192397 w 1192396"/>
                      <a:gd name="connsiteY1" fmla="*/ 0 h 42569"/>
                      <a:gd name="connsiteX2" fmla="*/ 1192397 w 1192396"/>
                      <a:gd name="connsiteY2" fmla="*/ 42569 h 42569"/>
                      <a:gd name="connsiteX3" fmla="*/ 1171112 w 1192396"/>
                      <a:gd name="connsiteY3" fmla="*/ 42569 h 42569"/>
                      <a:gd name="connsiteX4" fmla="*/ 21285 w 1192396"/>
                      <a:gd name="connsiteY4" fmla="*/ 42569 h 42569"/>
                      <a:gd name="connsiteX5" fmla="*/ 0 w 1192396"/>
                      <a:gd name="connsiteY5" fmla="*/ 42569 h 42569"/>
                      <a:gd name="connsiteX6" fmla="*/ 0 w 1192396"/>
                      <a:gd name="connsiteY6" fmla="*/ 0 h 42569"/>
                      <a:gd name="connsiteX7" fmla="*/ 21285 w 1192396"/>
                      <a:gd name="connsiteY7" fmla="*/ 0 h 425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92396" h="42569">
                        <a:moveTo>
                          <a:pt x="1171112" y="0"/>
                        </a:moveTo>
                        <a:cubicBezTo>
                          <a:pt x="1182867" y="0"/>
                          <a:pt x="1192397" y="0"/>
                          <a:pt x="1192397" y="0"/>
                        </a:cubicBezTo>
                        <a:lnTo>
                          <a:pt x="1192397" y="42569"/>
                        </a:lnTo>
                        <a:cubicBezTo>
                          <a:pt x="1192397" y="42569"/>
                          <a:pt x="1182867" y="42569"/>
                          <a:pt x="1171112" y="42569"/>
                        </a:cubicBezTo>
                        <a:lnTo>
                          <a:pt x="21285" y="42569"/>
                        </a:lnTo>
                        <a:cubicBezTo>
                          <a:pt x="9530" y="42569"/>
                          <a:pt x="0" y="42569"/>
                          <a:pt x="0" y="42569"/>
                        </a:cubicBezTo>
                        <a:lnTo>
                          <a:pt x="0" y="0"/>
                        </a:lnTo>
                        <a:cubicBezTo>
                          <a:pt x="0" y="0"/>
                          <a:pt x="9530" y="0"/>
                          <a:pt x="21285" y="0"/>
                        </a:cubicBezTo>
                        <a:close/>
                      </a:path>
                    </a:pathLst>
                  </a:custGeom>
                  <a:solidFill>
                    <a:schemeClr val="tx1">
                      <a:lumMod val="65000"/>
                      <a:lumOff val="35000"/>
                    </a:schemeClr>
                  </a:solidFill>
                  <a:ln w="74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9" name="Graphic 352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FBAAEA37-7FFB-41C9-85C5-D9F7A0F77DCA}"/>
                      </a:ext>
                    </a:extLst>
                  </p:cNvPr>
                  <p:cNvSpPr/>
                  <p:nvPr/>
                </p:nvSpPr>
                <p:spPr>
                  <a:xfrm>
                    <a:off x="8056100" y="1332508"/>
                    <a:ext cx="1192396" cy="42569"/>
                  </a:xfrm>
                  <a:custGeom>
                    <a:avLst/>
                    <a:gdLst>
                      <a:gd name="connsiteX0" fmla="*/ 1171112 w 1192396"/>
                      <a:gd name="connsiteY0" fmla="*/ 0 h 42569"/>
                      <a:gd name="connsiteX1" fmla="*/ 1192397 w 1192396"/>
                      <a:gd name="connsiteY1" fmla="*/ 0 h 42569"/>
                      <a:gd name="connsiteX2" fmla="*/ 1192397 w 1192396"/>
                      <a:gd name="connsiteY2" fmla="*/ 42570 h 42569"/>
                      <a:gd name="connsiteX3" fmla="*/ 1171112 w 1192396"/>
                      <a:gd name="connsiteY3" fmla="*/ 42570 h 42569"/>
                      <a:gd name="connsiteX4" fmla="*/ 21285 w 1192396"/>
                      <a:gd name="connsiteY4" fmla="*/ 42570 h 42569"/>
                      <a:gd name="connsiteX5" fmla="*/ 0 w 1192396"/>
                      <a:gd name="connsiteY5" fmla="*/ 42570 h 42569"/>
                      <a:gd name="connsiteX6" fmla="*/ 0 w 1192396"/>
                      <a:gd name="connsiteY6" fmla="*/ 0 h 42569"/>
                      <a:gd name="connsiteX7" fmla="*/ 21285 w 1192396"/>
                      <a:gd name="connsiteY7" fmla="*/ 0 h 425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92396" h="42569">
                        <a:moveTo>
                          <a:pt x="1171112" y="0"/>
                        </a:moveTo>
                        <a:cubicBezTo>
                          <a:pt x="1182867" y="0"/>
                          <a:pt x="1192397" y="0"/>
                          <a:pt x="1192397" y="0"/>
                        </a:cubicBezTo>
                        <a:lnTo>
                          <a:pt x="1192397" y="42570"/>
                        </a:lnTo>
                        <a:cubicBezTo>
                          <a:pt x="1192397" y="42570"/>
                          <a:pt x="1182867" y="42570"/>
                          <a:pt x="1171112" y="42570"/>
                        </a:cubicBezTo>
                        <a:lnTo>
                          <a:pt x="21285" y="42570"/>
                        </a:lnTo>
                        <a:cubicBezTo>
                          <a:pt x="9530" y="42570"/>
                          <a:pt x="0" y="42570"/>
                          <a:pt x="0" y="42570"/>
                        </a:cubicBezTo>
                        <a:lnTo>
                          <a:pt x="0" y="0"/>
                        </a:lnTo>
                        <a:cubicBezTo>
                          <a:pt x="0" y="0"/>
                          <a:pt x="9530" y="0"/>
                          <a:pt x="21285" y="0"/>
                        </a:cubicBezTo>
                        <a:close/>
                      </a:path>
                    </a:pathLst>
                  </a:custGeom>
                  <a:solidFill>
                    <a:schemeClr val="tx1">
                      <a:lumMod val="65000"/>
                      <a:lumOff val="35000"/>
                    </a:schemeClr>
                  </a:solidFill>
                  <a:ln w="7488" cap="flat">
                    <a:solidFill>
                      <a:schemeClr val="tx1">
                        <a:lumMod val="50000"/>
                        <a:lumOff val="50000"/>
                      </a:schemeClr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0" name="Graphic 352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1D4A14F5-D2F6-4515-B294-643C963D36E0}"/>
                      </a:ext>
                    </a:extLst>
                  </p:cNvPr>
                  <p:cNvSpPr/>
                  <p:nvPr/>
                </p:nvSpPr>
                <p:spPr>
                  <a:xfrm>
                    <a:off x="8056100" y="1460291"/>
                    <a:ext cx="1192396" cy="42569"/>
                  </a:xfrm>
                  <a:custGeom>
                    <a:avLst/>
                    <a:gdLst>
                      <a:gd name="connsiteX0" fmla="*/ 1171112 w 1192396"/>
                      <a:gd name="connsiteY0" fmla="*/ 0 h 42569"/>
                      <a:gd name="connsiteX1" fmla="*/ 1192397 w 1192396"/>
                      <a:gd name="connsiteY1" fmla="*/ 0 h 42569"/>
                      <a:gd name="connsiteX2" fmla="*/ 1192397 w 1192396"/>
                      <a:gd name="connsiteY2" fmla="*/ 42569 h 42569"/>
                      <a:gd name="connsiteX3" fmla="*/ 1171112 w 1192396"/>
                      <a:gd name="connsiteY3" fmla="*/ 42569 h 42569"/>
                      <a:gd name="connsiteX4" fmla="*/ 21285 w 1192396"/>
                      <a:gd name="connsiteY4" fmla="*/ 42569 h 42569"/>
                      <a:gd name="connsiteX5" fmla="*/ 0 w 1192396"/>
                      <a:gd name="connsiteY5" fmla="*/ 42569 h 42569"/>
                      <a:gd name="connsiteX6" fmla="*/ 0 w 1192396"/>
                      <a:gd name="connsiteY6" fmla="*/ 0 h 42569"/>
                      <a:gd name="connsiteX7" fmla="*/ 21285 w 1192396"/>
                      <a:gd name="connsiteY7" fmla="*/ 0 h 425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92396" h="42569">
                        <a:moveTo>
                          <a:pt x="1171112" y="0"/>
                        </a:moveTo>
                        <a:cubicBezTo>
                          <a:pt x="1182867" y="0"/>
                          <a:pt x="1192397" y="0"/>
                          <a:pt x="1192397" y="0"/>
                        </a:cubicBezTo>
                        <a:lnTo>
                          <a:pt x="1192397" y="42569"/>
                        </a:lnTo>
                        <a:cubicBezTo>
                          <a:pt x="1192397" y="42569"/>
                          <a:pt x="1182867" y="42569"/>
                          <a:pt x="1171112" y="42569"/>
                        </a:cubicBezTo>
                        <a:lnTo>
                          <a:pt x="21285" y="42569"/>
                        </a:lnTo>
                        <a:cubicBezTo>
                          <a:pt x="9530" y="42569"/>
                          <a:pt x="0" y="42569"/>
                          <a:pt x="0" y="42569"/>
                        </a:cubicBezTo>
                        <a:lnTo>
                          <a:pt x="0" y="0"/>
                        </a:lnTo>
                        <a:cubicBezTo>
                          <a:pt x="0" y="0"/>
                          <a:pt x="9530" y="0"/>
                          <a:pt x="21285" y="0"/>
                        </a:cubicBezTo>
                        <a:close/>
                      </a:path>
                    </a:pathLst>
                  </a:custGeom>
                  <a:solidFill>
                    <a:schemeClr val="tx1">
                      <a:lumMod val="65000"/>
                      <a:lumOff val="35000"/>
                    </a:schemeClr>
                  </a:solidFill>
                  <a:ln w="74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1" name="Graphic 352" descr="{&quot;Key&quot;:&quot;POWER_USER_SHAPE_ICON&quot;,&quot;Value&quot;:&quot;POWER_USER_SHAPE_ICON_STYLE_1&quot;}">
                    <a:extLst>
                      <a:ext uri="{FF2B5EF4-FFF2-40B4-BE49-F238E27FC236}">
                        <a16:creationId xmlns:a16="http://schemas.microsoft.com/office/drawing/2014/main" id="{815AD6FF-B2A1-41F0-B7F6-696401FA1715}"/>
                      </a:ext>
                    </a:extLst>
                  </p:cNvPr>
                  <p:cNvSpPr/>
                  <p:nvPr/>
                </p:nvSpPr>
                <p:spPr>
                  <a:xfrm>
                    <a:off x="8056100" y="1588075"/>
                    <a:ext cx="1192396" cy="42569"/>
                  </a:xfrm>
                  <a:custGeom>
                    <a:avLst/>
                    <a:gdLst>
                      <a:gd name="connsiteX0" fmla="*/ 1171112 w 1192396"/>
                      <a:gd name="connsiteY0" fmla="*/ 0 h 42569"/>
                      <a:gd name="connsiteX1" fmla="*/ 1192397 w 1192396"/>
                      <a:gd name="connsiteY1" fmla="*/ 0 h 42569"/>
                      <a:gd name="connsiteX2" fmla="*/ 1192397 w 1192396"/>
                      <a:gd name="connsiteY2" fmla="*/ 42569 h 42569"/>
                      <a:gd name="connsiteX3" fmla="*/ 1171112 w 1192396"/>
                      <a:gd name="connsiteY3" fmla="*/ 42569 h 42569"/>
                      <a:gd name="connsiteX4" fmla="*/ 21285 w 1192396"/>
                      <a:gd name="connsiteY4" fmla="*/ 42569 h 42569"/>
                      <a:gd name="connsiteX5" fmla="*/ 0 w 1192396"/>
                      <a:gd name="connsiteY5" fmla="*/ 42569 h 42569"/>
                      <a:gd name="connsiteX6" fmla="*/ 0 w 1192396"/>
                      <a:gd name="connsiteY6" fmla="*/ 0 h 42569"/>
                      <a:gd name="connsiteX7" fmla="*/ 21285 w 1192396"/>
                      <a:gd name="connsiteY7" fmla="*/ 0 h 425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92396" h="42569">
                        <a:moveTo>
                          <a:pt x="1171112" y="0"/>
                        </a:moveTo>
                        <a:cubicBezTo>
                          <a:pt x="1182867" y="0"/>
                          <a:pt x="1192397" y="0"/>
                          <a:pt x="1192397" y="0"/>
                        </a:cubicBezTo>
                        <a:lnTo>
                          <a:pt x="1192397" y="42569"/>
                        </a:lnTo>
                        <a:cubicBezTo>
                          <a:pt x="1192397" y="42569"/>
                          <a:pt x="1182867" y="42569"/>
                          <a:pt x="1171112" y="42569"/>
                        </a:cubicBezTo>
                        <a:lnTo>
                          <a:pt x="21285" y="42569"/>
                        </a:lnTo>
                        <a:cubicBezTo>
                          <a:pt x="9530" y="42569"/>
                          <a:pt x="0" y="42569"/>
                          <a:pt x="0" y="42569"/>
                        </a:cubicBezTo>
                        <a:lnTo>
                          <a:pt x="0" y="0"/>
                        </a:lnTo>
                        <a:cubicBezTo>
                          <a:pt x="0" y="0"/>
                          <a:pt x="9530" y="0"/>
                          <a:pt x="21285" y="0"/>
                        </a:cubicBezTo>
                        <a:close/>
                      </a:path>
                    </a:pathLst>
                  </a:custGeom>
                  <a:solidFill>
                    <a:schemeClr val="tx1">
                      <a:lumMod val="65000"/>
                      <a:lumOff val="35000"/>
                    </a:schemeClr>
                  </a:solidFill>
                  <a:ln w="74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37C2A8AF-699E-41E3-B021-1827C79A333C}"/>
                    </a:ext>
                  </a:extLst>
                </p:cNvPr>
                <p:cNvSpPr txBox="1"/>
                <p:nvPr/>
              </p:nvSpPr>
              <p:spPr>
                <a:xfrm>
                  <a:off x="7364113" y="1686948"/>
                  <a:ext cx="805087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/>
                    <a:t>  Policy </a:t>
                  </a:r>
                </a:p>
              </p:txBody>
            </p:sp>
            <p:sp>
              <p:nvSpPr>
                <p:cNvPr id="203" name="TextBox 202">
                  <a:extLst>
                    <a:ext uri="{FF2B5EF4-FFF2-40B4-BE49-F238E27FC236}">
                      <a16:creationId xmlns:a16="http://schemas.microsoft.com/office/drawing/2014/main" id="{D213FABB-46E5-41B4-95AD-7159CDE18E16}"/>
                    </a:ext>
                  </a:extLst>
                </p:cNvPr>
                <p:cNvSpPr txBox="1"/>
                <p:nvPr/>
              </p:nvSpPr>
              <p:spPr>
                <a:xfrm>
                  <a:off x="8639737" y="4111130"/>
                  <a:ext cx="805087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/>
                    <a:t>  Policy </a:t>
                  </a:r>
                </a:p>
              </p:txBody>
            </p:sp>
            <p:sp>
              <p:nvSpPr>
                <p:cNvPr id="204" name="TextBox 203">
                  <a:extLst>
                    <a:ext uri="{FF2B5EF4-FFF2-40B4-BE49-F238E27FC236}">
                      <a16:creationId xmlns:a16="http://schemas.microsoft.com/office/drawing/2014/main" id="{BD7BA8F5-5497-4E4A-B13F-9C092DE37B45}"/>
                    </a:ext>
                  </a:extLst>
                </p:cNvPr>
                <p:cNvSpPr txBox="1"/>
                <p:nvPr/>
              </p:nvSpPr>
              <p:spPr>
                <a:xfrm>
                  <a:off x="127220" y="4178465"/>
                  <a:ext cx="805087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/>
                    <a:t>  Policy </a:t>
                  </a:r>
                </a:p>
              </p:txBody>
            </p:sp>
          </p:grpSp>
          <p:sp>
            <p:nvSpPr>
              <p:cNvPr id="48" name="Graphic 459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8D69CF0D-9F30-4C18-AB03-FAC5CB3AB86C}"/>
                  </a:ext>
                </a:extLst>
              </p:cNvPr>
              <p:cNvSpPr/>
              <p:nvPr/>
            </p:nvSpPr>
            <p:spPr>
              <a:xfrm>
                <a:off x="4420602" y="4361165"/>
                <a:ext cx="1413228" cy="84471"/>
              </a:xfrm>
              <a:custGeom>
                <a:avLst/>
                <a:gdLst>
                  <a:gd name="connsiteX0" fmla="*/ -55 w 3092693"/>
                  <a:gd name="connsiteY0" fmla="*/ 58611 h 222709"/>
                  <a:gd name="connsiteX1" fmla="*/ 129118 w 3092693"/>
                  <a:gd name="connsiteY1" fmla="*/ 144197 h 222709"/>
                  <a:gd name="connsiteX2" fmla="*/ 1847198 w 3092693"/>
                  <a:gd name="connsiteY2" fmla="*/ 214571 h 222709"/>
                  <a:gd name="connsiteX3" fmla="*/ 2524798 w 3092693"/>
                  <a:gd name="connsiteY3" fmla="*/ 176024 h 222709"/>
                  <a:gd name="connsiteX4" fmla="*/ 3092638 w 3092693"/>
                  <a:gd name="connsiteY4" fmla="*/ 28837 h 222709"/>
                  <a:gd name="connsiteX5" fmla="*/ 2771198 w 3092693"/>
                  <a:gd name="connsiteY5" fmla="*/ 6717 h 222709"/>
                  <a:gd name="connsiteX6" fmla="*/ 2095558 w 3092693"/>
                  <a:gd name="connsiteY6" fmla="*/ 5597 h 222709"/>
                  <a:gd name="connsiteX7" fmla="*/ 763411 w 3092693"/>
                  <a:gd name="connsiteY7" fmla="*/ 29304 h 222709"/>
                  <a:gd name="connsiteX8" fmla="*/ -55 w 3092693"/>
                  <a:gd name="connsiteY8" fmla="*/ 58611 h 222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92693" h="222709">
                    <a:moveTo>
                      <a:pt x="-55" y="58611"/>
                    </a:moveTo>
                    <a:cubicBezTo>
                      <a:pt x="7971" y="113490"/>
                      <a:pt x="74611" y="135144"/>
                      <a:pt x="129118" y="144197"/>
                    </a:cubicBezTo>
                    <a:cubicBezTo>
                      <a:pt x="695465" y="238277"/>
                      <a:pt x="1273291" y="226891"/>
                      <a:pt x="1847198" y="214571"/>
                    </a:cubicBezTo>
                    <a:cubicBezTo>
                      <a:pt x="2073438" y="209624"/>
                      <a:pt x="2300238" y="204024"/>
                      <a:pt x="2524798" y="176024"/>
                    </a:cubicBezTo>
                    <a:cubicBezTo>
                      <a:pt x="2675251" y="157357"/>
                      <a:pt x="2981291" y="140184"/>
                      <a:pt x="3092638" y="28837"/>
                    </a:cubicBezTo>
                    <a:cubicBezTo>
                      <a:pt x="3013491" y="-19043"/>
                      <a:pt x="2862385" y="7277"/>
                      <a:pt x="2771198" y="6717"/>
                    </a:cubicBezTo>
                    <a:cubicBezTo>
                      <a:pt x="2545985" y="5410"/>
                      <a:pt x="2320772" y="4477"/>
                      <a:pt x="2095558" y="5597"/>
                    </a:cubicBezTo>
                    <a:cubicBezTo>
                      <a:pt x="1651478" y="7772"/>
                      <a:pt x="1207426" y="15677"/>
                      <a:pt x="763411" y="29304"/>
                    </a:cubicBezTo>
                    <a:cubicBezTo>
                      <a:pt x="508919" y="37209"/>
                      <a:pt x="254437" y="46972"/>
                      <a:pt x="-55" y="58611"/>
                    </a:cubicBezTo>
                    <a:close/>
                  </a:path>
                </a:pathLst>
              </a:custGeom>
              <a:solidFill>
                <a:srgbClr val="0B274F">
                  <a:alpha val="18000"/>
                </a:srgbClr>
              </a:solidFill>
              <a:ln w="93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F62557FB-B247-4EDA-B32E-D3E4EBB3FBD8}"/>
                  </a:ext>
                </a:extLst>
              </p:cNvPr>
              <p:cNvGrpSpPr/>
              <p:nvPr/>
            </p:nvGrpSpPr>
            <p:grpSpPr>
              <a:xfrm>
                <a:off x="4543084" y="3316198"/>
                <a:ext cx="586529" cy="1103874"/>
                <a:chOff x="4936162" y="3199441"/>
                <a:chExt cx="586529" cy="1103874"/>
              </a:xfrm>
            </p:grpSpPr>
            <p:sp>
              <p:nvSpPr>
                <p:cNvPr id="74" name="Rectangle: Diagonal Corners Snipped 73">
                  <a:extLst>
                    <a:ext uri="{FF2B5EF4-FFF2-40B4-BE49-F238E27FC236}">
                      <a16:creationId xmlns:a16="http://schemas.microsoft.com/office/drawing/2014/main" id="{C6449ED5-7B2F-4E3E-99BB-929F3BF8BC1E}"/>
                    </a:ext>
                  </a:extLst>
                </p:cNvPr>
                <p:cNvSpPr/>
                <p:nvPr/>
              </p:nvSpPr>
              <p:spPr>
                <a:xfrm>
                  <a:off x="5115902" y="3691756"/>
                  <a:ext cx="195214" cy="215415"/>
                </a:xfrm>
                <a:prstGeom prst="snip2DiagRect">
                  <a:avLst/>
                </a:prstGeom>
                <a:solidFill>
                  <a:schemeClr val="bg2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5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EF8E2597-0E9D-47FD-9E38-E52D0897A83D}"/>
                    </a:ext>
                  </a:extLst>
                </p:cNvPr>
                <p:cNvSpPr/>
                <p:nvPr/>
              </p:nvSpPr>
              <p:spPr>
                <a:xfrm>
                  <a:off x="5347241" y="4281929"/>
                  <a:ext cx="124940" cy="20232"/>
                </a:xfrm>
                <a:custGeom>
                  <a:avLst/>
                  <a:gdLst>
                    <a:gd name="connsiteX0" fmla="*/ 266837 w 273417"/>
                    <a:gd name="connsiteY0" fmla="*/ 31366 h 53341"/>
                    <a:gd name="connsiteX1" fmla="*/ 241357 w 273417"/>
                    <a:gd name="connsiteY1" fmla="*/ 39392 h 53341"/>
                    <a:gd name="connsiteX2" fmla="*/ 42557 w 273417"/>
                    <a:gd name="connsiteY2" fmla="*/ 53206 h 53341"/>
                    <a:gd name="connsiteX3" fmla="*/ 15677 w 273417"/>
                    <a:gd name="connsiteY3" fmla="*/ 49379 h 53341"/>
                    <a:gd name="connsiteX4" fmla="*/ 753 w 273417"/>
                    <a:gd name="connsiteY4" fmla="*/ 22788 h 53341"/>
                    <a:gd name="connsiteX5" fmla="*/ 15117 w 273417"/>
                    <a:gd name="connsiteY5" fmla="*/ 8032 h 53341"/>
                    <a:gd name="connsiteX6" fmla="*/ 41811 w 273417"/>
                    <a:gd name="connsiteY6" fmla="*/ 3179 h 53341"/>
                    <a:gd name="connsiteX7" fmla="*/ 259091 w 273417"/>
                    <a:gd name="connsiteY7" fmla="*/ 4952 h 53341"/>
                    <a:gd name="connsiteX8" fmla="*/ 273361 w 273417"/>
                    <a:gd name="connsiteY8" fmla="*/ 19429 h 53341"/>
                    <a:gd name="connsiteX9" fmla="*/ 266837 w 273417"/>
                    <a:gd name="connsiteY9" fmla="*/ 31366 h 533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73417" h="53341">
                      <a:moveTo>
                        <a:pt x="266837" y="31366"/>
                      </a:moveTo>
                      <a:cubicBezTo>
                        <a:pt x="259343" y="36536"/>
                        <a:pt x="250467" y="39336"/>
                        <a:pt x="241357" y="39392"/>
                      </a:cubicBezTo>
                      <a:cubicBezTo>
                        <a:pt x="175389" y="47578"/>
                        <a:pt x="109029" y="52198"/>
                        <a:pt x="42557" y="53206"/>
                      </a:cubicBezTo>
                      <a:cubicBezTo>
                        <a:pt x="33429" y="53785"/>
                        <a:pt x="24283" y="52478"/>
                        <a:pt x="15677" y="49379"/>
                      </a:cubicBezTo>
                      <a:cubicBezTo>
                        <a:pt x="4216" y="46159"/>
                        <a:pt x="-2467" y="34250"/>
                        <a:pt x="753" y="22788"/>
                      </a:cubicBezTo>
                      <a:cubicBezTo>
                        <a:pt x="2732" y="15751"/>
                        <a:pt x="8136" y="10198"/>
                        <a:pt x="15117" y="8032"/>
                      </a:cubicBezTo>
                      <a:cubicBezTo>
                        <a:pt x="23620" y="4719"/>
                        <a:pt x="32683" y="3076"/>
                        <a:pt x="41811" y="3179"/>
                      </a:cubicBezTo>
                      <a:cubicBezTo>
                        <a:pt x="113304" y="6"/>
                        <a:pt x="187691" y="-2701"/>
                        <a:pt x="259091" y="4952"/>
                      </a:cubicBezTo>
                      <a:cubicBezTo>
                        <a:pt x="267033" y="5008"/>
                        <a:pt x="273417" y="11495"/>
                        <a:pt x="273361" y="19429"/>
                      </a:cubicBezTo>
                      <a:cubicBezTo>
                        <a:pt x="273324" y="24254"/>
                        <a:pt x="270879" y="28734"/>
                        <a:pt x="266837" y="31366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6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4D48534F-FC5C-4E97-BED1-91AFB2228953}"/>
                    </a:ext>
                  </a:extLst>
                </p:cNvPr>
                <p:cNvSpPr/>
                <p:nvPr/>
              </p:nvSpPr>
              <p:spPr>
                <a:xfrm>
                  <a:off x="4936162" y="4236489"/>
                  <a:ext cx="114194" cy="66826"/>
                </a:xfrm>
                <a:custGeom>
                  <a:avLst/>
                  <a:gdLst>
                    <a:gd name="connsiteX0" fmla="*/ 65012 w 249900"/>
                    <a:gd name="connsiteY0" fmla="*/ 134554 h 176188"/>
                    <a:gd name="connsiteX1" fmla="*/ 87785 w 249900"/>
                    <a:gd name="connsiteY1" fmla="*/ 156581 h 176188"/>
                    <a:gd name="connsiteX2" fmla="*/ 133705 w 249900"/>
                    <a:gd name="connsiteY2" fmla="*/ 168528 h 176188"/>
                    <a:gd name="connsiteX3" fmla="*/ 227505 w 249900"/>
                    <a:gd name="connsiteY3" fmla="*/ 175808 h 176188"/>
                    <a:gd name="connsiteX4" fmla="*/ 244305 w 249900"/>
                    <a:gd name="connsiteY4" fmla="*/ 173008 h 176188"/>
                    <a:gd name="connsiteX5" fmla="*/ 245052 w 249900"/>
                    <a:gd name="connsiteY5" fmla="*/ 147248 h 176188"/>
                    <a:gd name="connsiteX6" fmla="*/ 220319 w 249900"/>
                    <a:gd name="connsiteY6" fmla="*/ 132875 h 176188"/>
                    <a:gd name="connsiteX7" fmla="*/ 83865 w 249900"/>
                    <a:gd name="connsiteY7" fmla="*/ 43741 h 176188"/>
                    <a:gd name="connsiteX8" fmla="*/ 1639 w 249900"/>
                    <a:gd name="connsiteY8" fmla="*/ 19381 h 176188"/>
                    <a:gd name="connsiteX9" fmla="*/ 65012 w 249900"/>
                    <a:gd name="connsiteY9" fmla="*/ 134554 h 1761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9900" h="176188">
                      <a:moveTo>
                        <a:pt x="65012" y="134554"/>
                      </a:moveTo>
                      <a:cubicBezTo>
                        <a:pt x="71433" y="143020"/>
                        <a:pt x="79115" y="150449"/>
                        <a:pt x="87785" y="156581"/>
                      </a:cubicBezTo>
                      <a:cubicBezTo>
                        <a:pt x="101944" y="164113"/>
                        <a:pt x="117670" y="168210"/>
                        <a:pt x="133705" y="168528"/>
                      </a:cubicBezTo>
                      <a:cubicBezTo>
                        <a:pt x="164813" y="171636"/>
                        <a:pt x="196080" y="174063"/>
                        <a:pt x="227505" y="175808"/>
                      </a:cubicBezTo>
                      <a:cubicBezTo>
                        <a:pt x="233264" y="176806"/>
                        <a:pt x="239181" y="175817"/>
                        <a:pt x="244305" y="173008"/>
                      </a:cubicBezTo>
                      <a:cubicBezTo>
                        <a:pt x="251389" y="165998"/>
                        <a:pt x="251725" y="154658"/>
                        <a:pt x="245052" y="147248"/>
                      </a:cubicBezTo>
                      <a:cubicBezTo>
                        <a:pt x="238136" y="140472"/>
                        <a:pt x="229633" y="135534"/>
                        <a:pt x="220319" y="132875"/>
                      </a:cubicBezTo>
                      <a:cubicBezTo>
                        <a:pt x="169172" y="112892"/>
                        <a:pt x="122720" y="82540"/>
                        <a:pt x="83865" y="43741"/>
                      </a:cubicBezTo>
                      <a:cubicBezTo>
                        <a:pt x="68745" y="28528"/>
                        <a:pt x="17039" y="-29899"/>
                        <a:pt x="1639" y="19381"/>
                      </a:cubicBezTo>
                      <a:cubicBezTo>
                        <a:pt x="-10215" y="56901"/>
                        <a:pt x="43265" y="108981"/>
                        <a:pt x="65012" y="134554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7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64A163D7-6CB0-412E-83F4-87D329A02AC8}"/>
                    </a:ext>
                  </a:extLst>
                </p:cNvPr>
                <p:cNvSpPr/>
                <p:nvPr/>
              </p:nvSpPr>
              <p:spPr>
                <a:xfrm>
                  <a:off x="4973828" y="3888066"/>
                  <a:ext cx="223056" cy="343195"/>
                </a:xfrm>
                <a:custGeom>
                  <a:avLst/>
                  <a:gdLst>
                    <a:gd name="connsiteX0" fmla="*/ 448598 w 488133"/>
                    <a:gd name="connsiteY0" fmla="*/ 60012 h 904835"/>
                    <a:gd name="connsiteX1" fmla="*/ 89918 w 488133"/>
                    <a:gd name="connsiteY1" fmla="*/ 853345 h 904835"/>
                    <a:gd name="connsiteX2" fmla="*/ 52585 w 488133"/>
                    <a:gd name="connsiteY2" fmla="*/ 900012 h 904835"/>
                    <a:gd name="connsiteX3" fmla="*/ 1345 w 488133"/>
                    <a:gd name="connsiteY3" fmla="*/ 886198 h 904835"/>
                    <a:gd name="connsiteX4" fmla="*/ 1345 w 488133"/>
                    <a:gd name="connsiteY4" fmla="*/ 862305 h 904835"/>
                    <a:gd name="connsiteX5" fmla="*/ 70971 w 488133"/>
                    <a:gd name="connsiteY5" fmla="*/ 511745 h 904835"/>
                    <a:gd name="connsiteX6" fmla="*/ 92718 w 488133"/>
                    <a:gd name="connsiteY6" fmla="*/ 384998 h 904835"/>
                    <a:gd name="connsiteX7" fmla="*/ 182131 w 488133"/>
                    <a:gd name="connsiteY7" fmla="*/ 248825 h 904835"/>
                    <a:gd name="connsiteX8" fmla="*/ 202851 w 488133"/>
                    <a:gd name="connsiteY8" fmla="*/ 144198 h 904835"/>
                    <a:gd name="connsiteX9" fmla="*/ 232065 w 488133"/>
                    <a:gd name="connsiteY9" fmla="*/ -2 h 904835"/>
                    <a:gd name="connsiteX10" fmla="*/ 488078 w 488133"/>
                    <a:gd name="connsiteY10" fmla="*/ 57025 h 904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88133" h="904835">
                      <a:moveTo>
                        <a:pt x="448598" y="60012"/>
                      </a:moveTo>
                      <a:cubicBezTo>
                        <a:pt x="354425" y="334692"/>
                        <a:pt x="221985" y="594438"/>
                        <a:pt x="89918" y="853345"/>
                      </a:cubicBezTo>
                      <a:cubicBezTo>
                        <a:pt x="80585" y="871358"/>
                        <a:pt x="70598" y="890678"/>
                        <a:pt x="52585" y="900012"/>
                      </a:cubicBezTo>
                      <a:cubicBezTo>
                        <a:pt x="34571" y="909345"/>
                        <a:pt x="7785" y="905332"/>
                        <a:pt x="1345" y="886198"/>
                      </a:cubicBezTo>
                      <a:cubicBezTo>
                        <a:pt x="-522" y="878340"/>
                        <a:pt x="-522" y="870164"/>
                        <a:pt x="1345" y="862305"/>
                      </a:cubicBezTo>
                      <a:cubicBezTo>
                        <a:pt x="20011" y="744518"/>
                        <a:pt x="59771" y="630465"/>
                        <a:pt x="70971" y="511745"/>
                      </a:cubicBezTo>
                      <a:cubicBezTo>
                        <a:pt x="74985" y="468905"/>
                        <a:pt x="75451" y="424478"/>
                        <a:pt x="92718" y="384998"/>
                      </a:cubicBezTo>
                      <a:cubicBezTo>
                        <a:pt x="114558" y="335065"/>
                        <a:pt x="160665" y="298945"/>
                        <a:pt x="182131" y="248825"/>
                      </a:cubicBezTo>
                      <a:cubicBezTo>
                        <a:pt x="196131" y="216065"/>
                        <a:pt x="198558" y="179665"/>
                        <a:pt x="202851" y="144198"/>
                      </a:cubicBezTo>
                      <a:cubicBezTo>
                        <a:pt x="208685" y="95422"/>
                        <a:pt x="218457" y="47197"/>
                        <a:pt x="232065" y="-2"/>
                      </a:cubicBezTo>
                      <a:cubicBezTo>
                        <a:pt x="319817" y="5832"/>
                        <a:pt x="406150" y="25068"/>
                        <a:pt x="488078" y="57025"/>
                      </a:cubicBezTo>
                    </a:path>
                  </a:pathLst>
                </a:custGeom>
                <a:solidFill>
                  <a:srgbClr val="F7AF87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8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BECBA34E-6D25-4B2E-ABB3-6A279178559E}"/>
                    </a:ext>
                  </a:extLst>
                </p:cNvPr>
                <p:cNvSpPr/>
                <p:nvPr/>
              </p:nvSpPr>
              <p:spPr>
                <a:xfrm>
                  <a:off x="5231771" y="3881588"/>
                  <a:ext cx="147470" cy="366836"/>
                </a:xfrm>
                <a:custGeom>
                  <a:avLst/>
                  <a:gdLst>
                    <a:gd name="connsiteX0" fmla="*/ 216105 w 322721"/>
                    <a:gd name="connsiteY0" fmla="*/ 23332 h 967163"/>
                    <a:gd name="connsiteX1" fmla="*/ 321665 w 322721"/>
                    <a:gd name="connsiteY1" fmla="*/ 887132 h 967163"/>
                    <a:gd name="connsiteX2" fmla="*/ 314478 w 322721"/>
                    <a:gd name="connsiteY2" fmla="*/ 946398 h 967163"/>
                    <a:gd name="connsiteX3" fmla="*/ 263518 w 322721"/>
                    <a:gd name="connsiteY3" fmla="*/ 961238 h 967163"/>
                    <a:gd name="connsiteX4" fmla="*/ 250918 w 322721"/>
                    <a:gd name="connsiteY4" fmla="*/ 940985 h 967163"/>
                    <a:gd name="connsiteX5" fmla="*/ 128278 w 322721"/>
                    <a:gd name="connsiteY5" fmla="*/ 604985 h 967163"/>
                    <a:gd name="connsiteX6" fmla="*/ 80958 w 322721"/>
                    <a:gd name="connsiteY6" fmla="*/ 485332 h 967163"/>
                    <a:gd name="connsiteX7" fmla="*/ 86558 w 322721"/>
                    <a:gd name="connsiteY7" fmla="*/ 322652 h 967163"/>
                    <a:gd name="connsiteX8" fmla="*/ 49878 w 322721"/>
                    <a:gd name="connsiteY8" fmla="*/ 222412 h 967163"/>
                    <a:gd name="connsiteX9" fmla="*/ -55 w 322721"/>
                    <a:gd name="connsiteY9" fmla="*/ 83998 h 967163"/>
                    <a:gd name="connsiteX10" fmla="*/ 248305 w 322721"/>
                    <a:gd name="connsiteY10" fmla="*/ -2 h 967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22721" h="967163">
                      <a:moveTo>
                        <a:pt x="216105" y="23332"/>
                      </a:moveTo>
                      <a:cubicBezTo>
                        <a:pt x="278358" y="306878"/>
                        <a:pt x="300105" y="597612"/>
                        <a:pt x="321665" y="887132"/>
                      </a:cubicBezTo>
                      <a:cubicBezTo>
                        <a:pt x="323158" y="907292"/>
                        <a:pt x="324371" y="928852"/>
                        <a:pt x="314478" y="946398"/>
                      </a:cubicBezTo>
                      <a:cubicBezTo>
                        <a:pt x="304585" y="963945"/>
                        <a:pt x="278918" y="974398"/>
                        <a:pt x="263518" y="961238"/>
                      </a:cubicBezTo>
                      <a:cubicBezTo>
                        <a:pt x="257787" y="955573"/>
                        <a:pt x="253466" y="948629"/>
                        <a:pt x="250918" y="940985"/>
                      </a:cubicBezTo>
                      <a:cubicBezTo>
                        <a:pt x="205371" y="830852"/>
                        <a:pt x="180358" y="712505"/>
                        <a:pt x="128278" y="604985"/>
                      </a:cubicBezTo>
                      <a:cubicBezTo>
                        <a:pt x="109611" y="566252"/>
                        <a:pt x="86745" y="528078"/>
                        <a:pt x="80958" y="485332"/>
                      </a:cubicBezTo>
                      <a:cubicBezTo>
                        <a:pt x="73678" y="431385"/>
                        <a:pt x="94305" y="376505"/>
                        <a:pt x="86558" y="322652"/>
                      </a:cubicBezTo>
                      <a:cubicBezTo>
                        <a:pt x="81518" y="287278"/>
                        <a:pt x="64625" y="254892"/>
                        <a:pt x="49878" y="222412"/>
                      </a:cubicBezTo>
                      <a:cubicBezTo>
                        <a:pt x="29606" y="177668"/>
                        <a:pt x="12909" y="131384"/>
                        <a:pt x="-55" y="83998"/>
                      </a:cubicBezTo>
                      <a:cubicBezTo>
                        <a:pt x="77981" y="43529"/>
                        <a:pt x="161729" y="15202"/>
                        <a:pt x="248305" y="-2"/>
                      </a:cubicBezTo>
                    </a:path>
                  </a:pathLst>
                </a:custGeom>
                <a:solidFill>
                  <a:srgbClr val="F7AF87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79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C5598250-9B75-4E53-9B95-D2EBF85CE2D4}"/>
                    </a:ext>
                  </a:extLst>
                </p:cNvPr>
                <p:cNvSpPr/>
                <p:nvPr/>
              </p:nvSpPr>
              <p:spPr>
                <a:xfrm>
                  <a:off x="5277156" y="3520362"/>
                  <a:ext cx="245535" cy="229357"/>
                </a:xfrm>
                <a:custGeom>
                  <a:avLst/>
                  <a:gdLst>
                    <a:gd name="connsiteX0" fmla="*/ 101199 w 537327"/>
                    <a:gd name="connsiteY0" fmla="*/ 125625 h 604701"/>
                    <a:gd name="connsiteX1" fmla="*/ 198266 w 537327"/>
                    <a:gd name="connsiteY1" fmla="*/ 303612 h 604701"/>
                    <a:gd name="connsiteX2" fmla="*/ 352546 w 537327"/>
                    <a:gd name="connsiteY2" fmla="*/ 431385 h 604701"/>
                    <a:gd name="connsiteX3" fmla="*/ 524746 w 537327"/>
                    <a:gd name="connsiteY3" fmla="*/ 494665 h 604701"/>
                    <a:gd name="connsiteX4" fmla="*/ 536319 w 537327"/>
                    <a:gd name="connsiteY4" fmla="*/ 508198 h 604701"/>
                    <a:gd name="connsiteX5" fmla="*/ 533799 w 537327"/>
                    <a:gd name="connsiteY5" fmla="*/ 530225 h 604701"/>
                    <a:gd name="connsiteX6" fmla="*/ 348533 w 537327"/>
                    <a:gd name="connsiteY6" fmla="*/ 584918 h 604701"/>
                    <a:gd name="connsiteX7" fmla="*/ 309053 w 537327"/>
                    <a:gd name="connsiteY7" fmla="*/ 553558 h 604701"/>
                    <a:gd name="connsiteX8" fmla="*/ 249879 w 537327"/>
                    <a:gd name="connsiteY8" fmla="*/ 525558 h 604701"/>
                    <a:gd name="connsiteX9" fmla="*/ 136479 w 537327"/>
                    <a:gd name="connsiteY9" fmla="*/ 446225 h 604701"/>
                    <a:gd name="connsiteX10" fmla="*/ 52479 w 537327"/>
                    <a:gd name="connsiteY10" fmla="*/ 343558 h 604701"/>
                    <a:gd name="connsiteX11" fmla="*/ 586 w 537327"/>
                    <a:gd name="connsiteY11" fmla="*/ 191892 h 604701"/>
                    <a:gd name="connsiteX12" fmla="*/ 7119 w 537327"/>
                    <a:gd name="connsiteY12" fmla="*/ 99865 h 604701"/>
                    <a:gd name="connsiteX13" fmla="*/ 24199 w 537327"/>
                    <a:gd name="connsiteY13" fmla="*/ -2 h 604701"/>
                    <a:gd name="connsiteX14" fmla="*/ 101199 w 537327"/>
                    <a:gd name="connsiteY14" fmla="*/ 125625 h 604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537327" h="604701">
                      <a:moveTo>
                        <a:pt x="101199" y="125625"/>
                      </a:moveTo>
                      <a:cubicBezTo>
                        <a:pt x="129759" y="186945"/>
                        <a:pt x="158599" y="248732"/>
                        <a:pt x="198266" y="303612"/>
                      </a:cubicBezTo>
                      <a:cubicBezTo>
                        <a:pt x="237933" y="358492"/>
                        <a:pt x="289546" y="406278"/>
                        <a:pt x="352546" y="431385"/>
                      </a:cubicBezTo>
                      <a:cubicBezTo>
                        <a:pt x="409759" y="453972"/>
                        <a:pt x="475839" y="457332"/>
                        <a:pt x="524746" y="494665"/>
                      </a:cubicBezTo>
                      <a:cubicBezTo>
                        <a:pt x="529777" y="498025"/>
                        <a:pt x="533781" y="502710"/>
                        <a:pt x="536319" y="508198"/>
                      </a:cubicBezTo>
                      <a:cubicBezTo>
                        <a:pt x="538186" y="515600"/>
                        <a:pt x="537290" y="523430"/>
                        <a:pt x="533799" y="530225"/>
                      </a:cubicBezTo>
                      <a:cubicBezTo>
                        <a:pt x="505799" y="598545"/>
                        <a:pt x="409199" y="627105"/>
                        <a:pt x="348533" y="584918"/>
                      </a:cubicBezTo>
                      <a:cubicBezTo>
                        <a:pt x="334719" y="575585"/>
                        <a:pt x="322959" y="562985"/>
                        <a:pt x="309053" y="553558"/>
                      </a:cubicBezTo>
                      <a:cubicBezTo>
                        <a:pt x="290097" y="542676"/>
                        <a:pt x="270310" y="533314"/>
                        <a:pt x="249879" y="525558"/>
                      </a:cubicBezTo>
                      <a:cubicBezTo>
                        <a:pt x="207879" y="506145"/>
                        <a:pt x="171853" y="475998"/>
                        <a:pt x="136479" y="446225"/>
                      </a:cubicBezTo>
                      <a:cubicBezTo>
                        <a:pt x="101106" y="416452"/>
                        <a:pt x="66199" y="386118"/>
                        <a:pt x="52479" y="343558"/>
                      </a:cubicBezTo>
                      <a:cubicBezTo>
                        <a:pt x="36706" y="293998"/>
                        <a:pt x="-5761" y="243505"/>
                        <a:pt x="586" y="191892"/>
                      </a:cubicBezTo>
                      <a:cubicBezTo>
                        <a:pt x="4226" y="161838"/>
                        <a:pt x="11319" y="129825"/>
                        <a:pt x="7119" y="99865"/>
                      </a:cubicBezTo>
                      <a:cubicBezTo>
                        <a:pt x="4039" y="77745"/>
                        <a:pt x="10479" y="18758"/>
                        <a:pt x="24199" y="-2"/>
                      </a:cubicBezTo>
                      <a:cubicBezTo>
                        <a:pt x="43053" y="31638"/>
                        <a:pt x="85146" y="91745"/>
                        <a:pt x="101199" y="125625"/>
                      </a:cubicBezTo>
                      <a:close/>
                    </a:path>
                  </a:pathLst>
                </a:custGeom>
                <a:solidFill>
                  <a:srgbClr val="F7AF87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9AF5E3FE-7990-4F2D-9426-2A4AD8ACBEF8}"/>
                    </a:ext>
                  </a:extLst>
                </p:cNvPr>
                <p:cNvSpPr/>
                <p:nvPr/>
              </p:nvSpPr>
              <p:spPr>
                <a:xfrm>
                  <a:off x="5169162" y="3271886"/>
                  <a:ext cx="139966" cy="153800"/>
                </a:xfrm>
                <a:custGeom>
                  <a:avLst/>
                  <a:gdLst>
                    <a:gd name="connsiteX0" fmla="*/ 305237 w 306301"/>
                    <a:gd name="connsiteY0" fmla="*/ 152972 h 405494"/>
                    <a:gd name="connsiteX1" fmla="*/ 299824 w 306301"/>
                    <a:gd name="connsiteY1" fmla="*/ 216905 h 405494"/>
                    <a:gd name="connsiteX2" fmla="*/ 261370 w 306301"/>
                    <a:gd name="connsiteY2" fmla="*/ 266745 h 405494"/>
                    <a:gd name="connsiteX3" fmla="*/ 190623 w 306301"/>
                    <a:gd name="connsiteY3" fmla="*/ 271038 h 405494"/>
                    <a:gd name="connsiteX4" fmla="*/ 175317 w 306301"/>
                    <a:gd name="connsiteY4" fmla="*/ 269452 h 405494"/>
                    <a:gd name="connsiteX5" fmla="*/ 167384 w 306301"/>
                    <a:gd name="connsiteY5" fmla="*/ 277945 h 405494"/>
                    <a:gd name="connsiteX6" fmla="*/ 148717 w 306301"/>
                    <a:gd name="connsiteY6" fmla="*/ 343278 h 405494"/>
                    <a:gd name="connsiteX7" fmla="*/ 147317 w 306301"/>
                    <a:gd name="connsiteY7" fmla="*/ 405252 h 405494"/>
                    <a:gd name="connsiteX8" fmla="*/ 123890 w 306301"/>
                    <a:gd name="connsiteY8" fmla="*/ 365025 h 405494"/>
                    <a:gd name="connsiteX9" fmla="*/ 79744 w 306301"/>
                    <a:gd name="connsiteY9" fmla="*/ 365025 h 405494"/>
                    <a:gd name="connsiteX10" fmla="*/ 65464 w 306301"/>
                    <a:gd name="connsiteY10" fmla="*/ 359238 h 405494"/>
                    <a:gd name="connsiteX11" fmla="*/ 8063 w 306301"/>
                    <a:gd name="connsiteY11" fmla="*/ 388358 h 405494"/>
                    <a:gd name="connsiteX12" fmla="*/ 34850 w 306301"/>
                    <a:gd name="connsiteY12" fmla="*/ 177332 h 405494"/>
                    <a:gd name="connsiteX13" fmla="*/ 51277 w 306301"/>
                    <a:gd name="connsiteY13" fmla="*/ 58612 h 405494"/>
                    <a:gd name="connsiteX14" fmla="*/ 120530 w 306301"/>
                    <a:gd name="connsiteY14" fmla="*/ 13812 h 405494"/>
                    <a:gd name="connsiteX15" fmla="*/ 193330 w 306301"/>
                    <a:gd name="connsiteY15" fmla="*/ -2 h 405494"/>
                    <a:gd name="connsiteX16" fmla="*/ 274717 w 306301"/>
                    <a:gd name="connsiteY16" fmla="*/ 43212 h 405494"/>
                    <a:gd name="connsiteX17" fmla="*/ 305237 w 306301"/>
                    <a:gd name="connsiteY17" fmla="*/ 152972 h 4054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06301" h="405494">
                      <a:moveTo>
                        <a:pt x="305237" y="152972"/>
                      </a:moveTo>
                      <a:cubicBezTo>
                        <a:pt x="307617" y="174432"/>
                        <a:pt x="305778" y="196150"/>
                        <a:pt x="299824" y="216905"/>
                      </a:cubicBezTo>
                      <a:cubicBezTo>
                        <a:pt x="293626" y="237712"/>
                        <a:pt x="279925" y="255474"/>
                        <a:pt x="261370" y="266745"/>
                      </a:cubicBezTo>
                      <a:cubicBezTo>
                        <a:pt x="239409" y="277938"/>
                        <a:pt x="213779" y="279493"/>
                        <a:pt x="190623" y="271038"/>
                      </a:cubicBezTo>
                      <a:cubicBezTo>
                        <a:pt x="185864" y="268726"/>
                        <a:pt x="180450" y="268165"/>
                        <a:pt x="175317" y="269452"/>
                      </a:cubicBezTo>
                      <a:cubicBezTo>
                        <a:pt x="171789" y="271300"/>
                        <a:pt x="168989" y="274295"/>
                        <a:pt x="167384" y="277945"/>
                      </a:cubicBezTo>
                      <a:cubicBezTo>
                        <a:pt x="156464" y="297825"/>
                        <a:pt x="156370" y="321718"/>
                        <a:pt x="148717" y="343278"/>
                      </a:cubicBezTo>
                      <a:cubicBezTo>
                        <a:pt x="146477" y="349345"/>
                        <a:pt x="152450" y="401332"/>
                        <a:pt x="147317" y="405252"/>
                      </a:cubicBezTo>
                      <a:cubicBezTo>
                        <a:pt x="142184" y="409172"/>
                        <a:pt x="128650" y="363998"/>
                        <a:pt x="123890" y="365025"/>
                      </a:cubicBezTo>
                      <a:cubicBezTo>
                        <a:pt x="109330" y="368058"/>
                        <a:pt x="94304" y="368058"/>
                        <a:pt x="79744" y="365025"/>
                      </a:cubicBezTo>
                      <a:cubicBezTo>
                        <a:pt x="74592" y="364250"/>
                        <a:pt x="69701" y="362262"/>
                        <a:pt x="65464" y="359238"/>
                      </a:cubicBezTo>
                      <a:cubicBezTo>
                        <a:pt x="61917" y="356532"/>
                        <a:pt x="10304" y="392278"/>
                        <a:pt x="8063" y="388358"/>
                      </a:cubicBezTo>
                      <a:cubicBezTo>
                        <a:pt x="-20776" y="337772"/>
                        <a:pt x="36623" y="235665"/>
                        <a:pt x="34850" y="177332"/>
                      </a:cubicBezTo>
                      <a:cubicBezTo>
                        <a:pt x="33637" y="136638"/>
                        <a:pt x="28037" y="92025"/>
                        <a:pt x="51277" y="58612"/>
                      </a:cubicBezTo>
                      <a:cubicBezTo>
                        <a:pt x="67330" y="35652"/>
                        <a:pt x="94117" y="22865"/>
                        <a:pt x="120530" y="13812"/>
                      </a:cubicBezTo>
                      <a:cubicBezTo>
                        <a:pt x="143864" y="5198"/>
                        <a:pt x="168466" y="529"/>
                        <a:pt x="193330" y="-2"/>
                      </a:cubicBezTo>
                      <a:cubicBezTo>
                        <a:pt x="229357" y="-2"/>
                        <a:pt x="258664" y="10638"/>
                        <a:pt x="274717" y="43212"/>
                      </a:cubicBezTo>
                      <a:cubicBezTo>
                        <a:pt x="291713" y="77549"/>
                        <a:pt x="302073" y="114789"/>
                        <a:pt x="305237" y="152972"/>
                      </a:cubicBezTo>
                      <a:close/>
                    </a:path>
                  </a:pathLst>
                </a:custGeom>
                <a:solidFill>
                  <a:srgbClr val="F7AF87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D8AA5A7E-EE18-4005-896A-E2A3AA265458}"/>
                    </a:ext>
                  </a:extLst>
                </p:cNvPr>
                <p:cNvSpPr/>
                <p:nvPr/>
              </p:nvSpPr>
              <p:spPr>
                <a:xfrm>
                  <a:off x="5135247" y="3233470"/>
                  <a:ext cx="160126" cy="144007"/>
                </a:xfrm>
                <a:custGeom>
                  <a:avLst/>
                  <a:gdLst>
                    <a:gd name="connsiteX0" fmla="*/ 341658 w 350417"/>
                    <a:gd name="connsiteY0" fmla="*/ 70015 h 379674"/>
                    <a:gd name="connsiteX1" fmla="*/ 336431 w 350417"/>
                    <a:gd name="connsiteY1" fmla="*/ 146921 h 379674"/>
                    <a:gd name="connsiteX2" fmla="*/ 309925 w 350417"/>
                    <a:gd name="connsiteY2" fmla="*/ 166615 h 379674"/>
                    <a:gd name="connsiteX3" fmla="*/ 243751 w 350417"/>
                    <a:gd name="connsiteY3" fmla="*/ 186961 h 379674"/>
                    <a:gd name="connsiteX4" fmla="*/ 225085 w 350417"/>
                    <a:gd name="connsiteY4" fmla="*/ 191908 h 379674"/>
                    <a:gd name="connsiteX5" fmla="*/ 214631 w 350417"/>
                    <a:gd name="connsiteY5" fmla="*/ 207215 h 379674"/>
                    <a:gd name="connsiteX6" fmla="*/ 202405 w 350417"/>
                    <a:gd name="connsiteY6" fmla="*/ 260415 h 379674"/>
                    <a:gd name="connsiteX7" fmla="*/ 184205 w 350417"/>
                    <a:gd name="connsiteY7" fmla="*/ 253041 h 379674"/>
                    <a:gd name="connsiteX8" fmla="*/ 170765 w 350417"/>
                    <a:gd name="connsiteY8" fmla="*/ 236428 h 379674"/>
                    <a:gd name="connsiteX9" fmla="*/ 142765 w 350417"/>
                    <a:gd name="connsiteY9" fmla="*/ 253228 h 379674"/>
                    <a:gd name="connsiteX10" fmla="*/ 154711 w 350417"/>
                    <a:gd name="connsiteY10" fmla="*/ 288228 h 379674"/>
                    <a:gd name="connsiteX11" fmla="*/ 168618 w 350417"/>
                    <a:gd name="connsiteY11" fmla="*/ 323695 h 379674"/>
                    <a:gd name="connsiteX12" fmla="*/ 152565 w 350417"/>
                    <a:gd name="connsiteY12" fmla="*/ 342361 h 379674"/>
                    <a:gd name="connsiteX13" fmla="*/ 111405 w 350417"/>
                    <a:gd name="connsiteY13" fmla="*/ 373441 h 379674"/>
                    <a:gd name="connsiteX14" fmla="*/ 86681 w 350417"/>
                    <a:gd name="connsiteY14" fmla="*/ 375537 h 379674"/>
                    <a:gd name="connsiteX15" fmla="*/ 84058 w 350417"/>
                    <a:gd name="connsiteY15" fmla="*/ 372788 h 379674"/>
                    <a:gd name="connsiteX16" fmla="*/ 32445 w 350417"/>
                    <a:gd name="connsiteY16" fmla="*/ 321921 h 379674"/>
                    <a:gd name="connsiteX17" fmla="*/ 338 w 350417"/>
                    <a:gd name="connsiteY17" fmla="*/ 206748 h 379674"/>
                    <a:gd name="connsiteX18" fmla="*/ 91898 w 350417"/>
                    <a:gd name="connsiteY18" fmla="*/ 39961 h 379674"/>
                    <a:gd name="connsiteX19" fmla="*/ 341658 w 350417"/>
                    <a:gd name="connsiteY19" fmla="*/ 70015 h 379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350417" h="379674">
                      <a:moveTo>
                        <a:pt x="341658" y="70015"/>
                      </a:moveTo>
                      <a:cubicBezTo>
                        <a:pt x="353978" y="94281"/>
                        <a:pt x="354071" y="126015"/>
                        <a:pt x="336431" y="146921"/>
                      </a:cubicBezTo>
                      <a:cubicBezTo>
                        <a:pt x="328946" y="155132"/>
                        <a:pt x="319949" y="161819"/>
                        <a:pt x="309925" y="166615"/>
                      </a:cubicBezTo>
                      <a:cubicBezTo>
                        <a:pt x="289307" y="177413"/>
                        <a:pt x="266870" y="184312"/>
                        <a:pt x="243751" y="186961"/>
                      </a:cubicBezTo>
                      <a:cubicBezTo>
                        <a:pt x="237209" y="187008"/>
                        <a:pt x="230787" y="188709"/>
                        <a:pt x="225085" y="191908"/>
                      </a:cubicBezTo>
                      <a:cubicBezTo>
                        <a:pt x="220222" y="195922"/>
                        <a:pt x="216601" y="201228"/>
                        <a:pt x="214631" y="207215"/>
                      </a:cubicBezTo>
                      <a:cubicBezTo>
                        <a:pt x="207827" y="224207"/>
                        <a:pt x="203702" y="242155"/>
                        <a:pt x="202405" y="260415"/>
                      </a:cubicBezTo>
                      <a:cubicBezTo>
                        <a:pt x="196151" y="263961"/>
                        <a:pt x="188311" y="258921"/>
                        <a:pt x="184205" y="253041"/>
                      </a:cubicBezTo>
                      <a:cubicBezTo>
                        <a:pt x="180098" y="247161"/>
                        <a:pt x="177111" y="239881"/>
                        <a:pt x="170765" y="236428"/>
                      </a:cubicBezTo>
                      <a:cubicBezTo>
                        <a:pt x="159751" y="230175"/>
                        <a:pt x="145285" y="240815"/>
                        <a:pt x="142765" y="253228"/>
                      </a:cubicBezTo>
                      <a:cubicBezTo>
                        <a:pt x="141981" y="266013"/>
                        <a:pt x="146274" y="278590"/>
                        <a:pt x="154711" y="288228"/>
                      </a:cubicBezTo>
                      <a:cubicBezTo>
                        <a:pt x="162458" y="298868"/>
                        <a:pt x="172165" y="311001"/>
                        <a:pt x="168618" y="323695"/>
                      </a:cubicBezTo>
                      <a:cubicBezTo>
                        <a:pt x="165454" y="331505"/>
                        <a:pt x="159817" y="338061"/>
                        <a:pt x="152565" y="342361"/>
                      </a:cubicBezTo>
                      <a:lnTo>
                        <a:pt x="111405" y="373441"/>
                      </a:lnTo>
                      <a:cubicBezTo>
                        <a:pt x="105151" y="380848"/>
                        <a:pt x="94082" y="381786"/>
                        <a:pt x="86681" y="375537"/>
                      </a:cubicBezTo>
                      <a:cubicBezTo>
                        <a:pt x="85710" y="374718"/>
                        <a:pt x="84833" y="373796"/>
                        <a:pt x="84058" y="372788"/>
                      </a:cubicBezTo>
                      <a:cubicBezTo>
                        <a:pt x="64878" y="357961"/>
                        <a:pt x="47546" y="340883"/>
                        <a:pt x="32445" y="321921"/>
                      </a:cubicBezTo>
                      <a:cubicBezTo>
                        <a:pt x="8953" y="288299"/>
                        <a:pt x="-2369" y="247674"/>
                        <a:pt x="338" y="206748"/>
                      </a:cubicBezTo>
                      <a:cubicBezTo>
                        <a:pt x="4165" y="140197"/>
                        <a:pt x="37802" y="78920"/>
                        <a:pt x="91898" y="39961"/>
                      </a:cubicBezTo>
                      <a:cubicBezTo>
                        <a:pt x="165631" y="-12119"/>
                        <a:pt x="294431" y="-23972"/>
                        <a:pt x="341658" y="70015"/>
                      </a:cubicBezTo>
                      <a:close/>
                    </a:path>
                  </a:pathLst>
                </a:custGeom>
                <a:solidFill>
                  <a:srgbClr val="3E3E54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7DAA9697-CD15-45CF-A7CD-D7373C3BFC6C}"/>
                    </a:ext>
                  </a:extLst>
                </p:cNvPr>
                <p:cNvSpPr/>
                <p:nvPr/>
              </p:nvSpPr>
              <p:spPr>
                <a:xfrm>
                  <a:off x="5089386" y="3199441"/>
                  <a:ext cx="99158" cy="83504"/>
                </a:xfrm>
                <a:custGeom>
                  <a:avLst/>
                  <a:gdLst>
                    <a:gd name="connsiteX0" fmla="*/ 109286 w 216997"/>
                    <a:gd name="connsiteY0" fmla="*/ 879 h 220159"/>
                    <a:gd name="connsiteX1" fmla="*/ 12033 w 216997"/>
                    <a:gd name="connsiteY1" fmla="*/ 50253 h 220159"/>
                    <a:gd name="connsiteX2" fmla="*/ 86 w 216997"/>
                    <a:gd name="connsiteY2" fmla="*/ 104946 h 220159"/>
                    <a:gd name="connsiteX3" fmla="*/ 3353 w 216997"/>
                    <a:gd name="connsiteY3" fmla="*/ 138826 h 220159"/>
                    <a:gd name="connsiteX4" fmla="*/ 38353 w 216997"/>
                    <a:gd name="connsiteY4" fmla="*/ 191466 h 220159"/>
                    <a:gd name="connsiteX5" fmla="*/ 66353 w 216997"/>
                    <a:gd name="connsiteY5" fmla="*/ 211533 h 220159"/>
                    <a:gd name="connsiteX6" fmla="*/ 138126 w 216997"/>
                    <a:gd name="connsiteY6" fmla="*/ 217039 h 220159"/>
                    <a:gd name="connsiteX7" fmla="*/ 171073 w 216997"/>
                    <a:gd name="connsiteY7" fmla="*/ 207706 h 220159"/>
                    <a:gd name="connsiteX8" fmla="*/ 215780 w 216997"/>
                    <a:gd name="connsiteY8" fmla="*/ 151706 h 220159"/>
                    <a:gd name="connsiteX9" fmla="*/ 215780 w 216997"/>
                    <a:gd name="connsiteY9" fmla="*/ 130986 h 220159"/>
                    <a:gd name="connsiteX10" fmla="*/ 209526 w 216997"/>
                    <a:gd name="connsiteY10" fmla="*/ 116053 h 220159"/>
                    <a:gd name="connsiteX11" fmla="*/ 175740 w 216997"/>
                    <a:gd name="connsiteY11" fmla="*/ 41386 h 220159"/>
                    <a:gd name="connsiteX12" fmla="*/ 109286 w 216997"/>
                    <a:gd name="connsiteY12" fmla="*/ 879 h 220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16997" h="220159">
                      <a:moveTo>
                        <a:pt x="109286" y="879"/>
                      </a:moveTo>
                      <a:cubicBezTo>
                        <a:pt x="69750" y="-4508"/>
                        <a:pt x="31017" y="15158"/>
                        <a:pt x="12033" y="50253"/>
                      </a:cubicBezTo>
                      <a:cubicBezTo>
                        <a:pt x="4109" y="67394"/>
                        <a:pt x="30" y="86062"/>
                        <a:pt x="86" y="104946"/>
                      </a:cubicBezTo>
                      <a:cubicBezTo>
                        <a:pt x="-474" y="116338"/>
                        <a:pt x="628" y="127750"/>
                        <a:pt x="3353" y="138826"/>
                      </a:cubicBezTo>
                      <a:cubicBezTo>
                        <a:pt x="9970" y="159251"/>
                        <a:pt x="22076" y="177461"/>
                        <a:pt x="38353" y="191466"/>
                      </a:cubicBezTo>
                      <a:cubicBezTo>
                        <a:pt x="46613" y="199539"/>
                        <a:pt x="56058" y="206305"/>
                        <a:pt x="66353" y="211533"/>
                      </a:cubicBezTo>
                      <a:cubicBezTo>
                        <a:pt x="89145" y="220686"/>
                        <a:pt x="114205" y="222609"/>
                        <a:pt x="138126" y="217039"/>
                      </a:cubicBezTo>
                      <a:cubicBezTo>
                        <a:pt x="149476" y="215402"/>
                        <a:pt x="160554" y="212264"/>
                        <a:pt x="171073" y="207706"/>
                      </a:cubicBezTo>
                      <a:cubicBezTo>
                        <a:pt x="193744" y="196845"/>
                        <a:pt x="210208" y="176220"/>
                        <a:pt x="215780" y="151706"/>
                      </a:cubicBezTo>
                      <a:cubicBezTo>
                        <a:pt x="217329" y="144886"/>
                        <a:pt x="217329" y="137805"/>
                        <a:pt x="215780" y="130986"/>
                      </a:cubicBezTo>
                      <a:cubicBezTo>
                        <a:pt x="214240" y="125797"/>
                        <a:pt x="212149" y="120789"/>
                        <a:pt x="209526" y="116053"/>
                      </a:cubicBezTo>
                      <a:cubicBezTo>
                        <a:pt x="197020" y="91786"/>
                        <a:pt x="192353" y="63413"/>
                        <a:pt x="175740" y="41386"/>
                      </a:cubicBezTo>
                      <a:cubicBezTo>
                        <a:pt x="159733" y="19723"/>
                        <a:pt x="135877" y="5185"/>
                        <a:pt x="109286" y="879"/>
                      </a:cubicBezTo>
                      <a:close/>
                    </a:path>
                  </a:pathLst>
                </a:custGeom>
                <a:solidFill>
                  <a:srgbClr val="3E3E54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2EAEFCFE-A53B-4963-9259-47F10ACEDD4C}"/>
                    </a:ext>
                  </a:extLst>
                </p:cNvPr>
                <p:cNvSpPr/>
                <p:nvPr/>
              </p:nvSpPr>
              <p:spPr>
                <a:xfrm>
                  <a:off x="5096730" y="3398684"/>
                  <a:ext cx="215898" cy="318786"/>
                </a:xfrm>
                <a:custGeom>
                  <a:avLst/>
                  <a:gdLst>
                    <a:gd name="connsiteX0" fmla="*/ 45988 w 472468"/>
                    <a:gd name="connsiteY0" fmla="*/ 699829 h 840479"/>
                    <a:gd name="connsiteX1" fmla="*/ 2028 w 472468"/>
                    <a:gd name="connsiteY1" fmla="*/ 582416 h 840479"/>
                    <a:gd name="connsiteX2" fmla="*/ 16028 w 472468"/>
                    <a:gd name="connsiteY2" fmla="*/ 428603 h 840479"/>
                    <a:gd name="connsiteX3" fmla="*/ 13322 w 472468"/>
                    <a:gd name="connsiteY3" fmla="*/ 199189 h 840479"/>
                    <a:gd name="connsiteX4" fmla="*/ 312735 w 472468"/>
                    <a:gd name="connsiteY4" fmla="*/ 49856 h 840479"/>
                    <a:gd name="connsiteX5" fmla="*/ 372282 w 472468"/>
                    <a:gd name="connsiteY5" fmla="*/ 136749 h 840479"/>
                    <a:gd name="connsiteX6" fmla="*/ 449842 w 472468"/>
                    <a:gd name="connsiteY6" fmla="*/ 228589 h 840479"/>
                    <a:gd name="connsiteX7" fmla="*/ 455348 w 472468"/>
                    <a:gd name="connsiteY7" fmla="*/ 387909 h 840479"/>
                    <a:gd name="connsiteX8" fmla="*/ 414748 w 472468"/>
                    <a:gd name="connsiteY8" fmla="*/ 457629 h 840479"/>
                    <a:gd name="connsiteX9" fmla="*/ 399162 w 472468"/>
                    <a:gd name="connsiteY9" fmla="*/ 559736 h 840479"/>
                    <a:gd name="connsiteX10" fmla="*/ 407375 w 472468"/>
                    <a:gd name="connsiteY10" fmla="*/ 700669 h 840479"/>
                    <a:gd name="connsiteX11" fmla="*/ 409615 w 472468"/>
                    <a:gd name="connsiteY11" fmla="*/ 797643 h 840479"/>
                    <a:gd name="connsiteX12" fmla="*/ 301628 w 472468"/>
                    <a:gd name="connsiteY12" fmla="*/ 835443 h 840479"/>
                    <a:gd name="connsiteX13" fmla="*/ 83788 w 472468"/>
                    <a:gd name="connsiteY13" fmla="*/ 790083 h 840479"/>
                    <a:gd name="connsiteX14" fmla="*/ 45988 w 472468"/>
                    <a:gd name="connsiteY14" fmla="*/ 699643 h 8404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72468" h="840479">
                      <a:moveTo>
                        <a:pt x="45988" y="699829"/>
                      </a:moveTo>
                      <a:cubicBezTo>
                        <a:pt x="5015" y="662029"/>
                        <a:pt x="7722" y="637949"/>
                        <a:pt x="2028" y="582416"/>
                      </a:cubicBezTo>
                      <a:cubicBezTo>
                        <a:pt x="-3245" y="530719"/>
                        <a:pt x="1515" y="478499"/>
                        <a:pt x="16028" y="428603"/>
                      </a:cubicBezTo>
                      <a:cubicBezTo>
                        <a:pt x="39082" y="349269"/>
                        <a:pt x="-8612" y="279269"/>
                        <a:pt x="13322" y="199189"/>
                      </a:cubicBezTo>
                      <a:cubicBezTo>
                        <a:pt x="26762" y="150376"/>
                        <a:pt x="108802" y="-106477"/>
                        <a:pt x="312735" y="49856"/>
                      </a:cubicBezTo>
                      <a:cubicBezTo>
                        <a:pt x="340735" y="71229"/>
                        <a:pt x="350908" y="108843"/>
                        <a:pt x="372282" y="136749"/>
                      </a:cubicBezTo>
                      <a:cubicBezTo>
                        <a:pt x="396735" y="168576"/>
                        <a:pt x="429122" y="194243"/>
                        <a:pt x="449842" y="228589"/>
                      </a:cubicBezTo>
                      <a:cubicBezTo>
                        <a:pt x="477851" y="277533"/>
                        <a:pt x="479914" y="337145"/>
                        <a:pt x="455348" y="387909"/>
                      </a:cubicBezTo>
                      <a:cubicBezTo>
                        <a:pt x="443402" y="412829"/>
                        <a:pt x="425295" y="431869"/>
                        <a:pt x="414748" y="457629"/>
                      </a:cubicBezTo>
                      <a:cubicBezTo>
                        <a:pt x="402690" y="490259"/>
                        <a:pt x="397388" y="524998"/>
                        <a:pt x="399162" y="559736"/>
                      </a:cubicBezTo>
                      <a:cubicBezTo>
                        <a:pt x="399908" y="606776"/>
                        <a:pt x="402643" y="653751"/>
                        <a:pt x="407375" y="700669"/>
                      </a:cubicBezTo>
                      <a:cubicBezTo>
                        <a:pt x="410455" y="731096"/>
                        <a:pt x="429588" y="770856"/>
                        <a:pt x="409615" y="797643"/>
                      </a:cubicBezTo>
                      <a:cubicBezTo>
                        <a:pt x="389642" y="824430"/>
                        <a:pt x="331308" y="830683"/>
                        <a:pt x="301628" y="835443"/>
                      </a:cubicBezTo>
                      <a:cubicBezTo>
                        <a:pt x="226962" y="847483"/>
                        <a:pt x="144082" y="840016"/>
                        <a:pt x="83788" y="790083"/>
                      </a:cubicBezTo>
                      <a:cubicBezTo>
                        <a:pt x="57002" y="767963"/>
                        <a:pt x="35255" y="732683"/>
                        <a:pt x="45988" y="699643"/>
                      </a:cubicBezTo>
                    </a:path>
                  </a:pathLst>
                </a:custGeom>
                <a:solidFill>
                  <a:schemeClr val="bg2">
                    <a:lumMod val="50000"/>
                  </a:schemeClr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84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8F975D8A-D25F-415E-B142-DE3E451CDD7F}"/>
                    </a:ext>
                  </a:extLst>
                </p:cNvPr>
                <p:cNvSpPr/>
                <p:nvPr/>
              </p:nvSpPr>
              <p:spPr>
                <a:xfrm>
                  <a:off x="5098777" y="3427286"/>
                  <a:ext cx="132993" cy="348448"/>
                </a:xfrm>
                <a:custGeom>
                  <a:avLst/>
                  <a:gdLst>
                    <a:gd name="connsiteX0" fmla="*/ 178801 w 291041"/>
                    <a:gd name="connsiteY0" fmla="*/ 428607 h 918684"/>
                    <a:gd name="connsiteX1" fmla="*/ 189814 w 291041"/>
                    <a:gd name="connsiteY1" fmla="*/ 598100 h 918684"/>
                    <a:gd name="connsiteX2" fmla="*/ 175721 w 291041"/>
                    <a:gd name="connsiteY2" fmla="*/ 771513 h 918684"/>
                    <a:gd name="connsiteX3" fmla="*/ 156307 w 291041"/>
                    <a:gd name="connsiteY3" fmla="*/ 905540 h 918684"/>
                    <a:gd name="connsiteX4" fmla="*/ 153787 w 291041"/>
                    <a:gd name="connsiteY4" fmla="*/ 913847 h 918684"/>
                    <a:gd name="connsiteX5" fmla="*/ 125787 w 291041"/>
                    <a:gd name="connsiteY5" fmla="*/ 910020 h 918684"/>
                    <a:gd name="connsiteX6" fmla="*/ 75294 w 291041"/>
                    <a:gd name="connsiteY6" fmla="*/ 743980 h 918684"/>
                    <a:gd name="connsiteX7" fmla="*/ 16401 w 291041"/>
                    <a:gd name="connsiteY7" fmla="*/ 558993 h 918684"/>
                    <a:gd name="connsiteX8" fmla="*/ 17241 w 291041"/>
                    <a:gd name="connsiteY8" fmla="*/ 321180 h 918684"/>
                    <a:gd name="connsiteX9" fmla="*/ 74174 w 291041"/>
                    <a:gd name="connsiteY9" fmla="*/ 196767 h 918684"/>
                    <a:gd name="connsiteX10" fmla="*/ 159761 w 291041"/>
                    <a:gd name="connsiteY10" fmla="*/ 91300 h 918684"/>
                    <a:gd name="connsiteX11" fmla="*/ 281094 w 291041"/>
                    <a:gd name="connsiteY11" fmla="*/ 4687 h 918684"/>
                    <a:gd name="connsiteX12" fmla="*/ 266254 w 291041"/>
                    <a:gd name="connsiteY12" fmla="*/ 175673 h 918684"/>
                    <a:gd name="connsiteX13" fmla="*/ 178801 w 291041"/>
                    <a:gd name="connsiteY13" fmla="*/ 428607 h 9186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91041" h="918684">
                      <a:moveTo>
                        <a:pt x="178801" y="428607"/>
                      </a:moveTo>
                      <a:cubicBezTo>
                        <a:pt x="174321" y="485167"/>
                        <a:pt x="187294" y="541447"/>
                        <a:pt x="189814" y="598100"/>
                      </a:cubicBezTo>
                      <a:cubicBezTo>
                        <a:pt x="192334" y="654753"/>
                        <a:pt x="184028" y="714020"/>
                        <a:pt x="175721" y="771513"/>
                      </a:cubicBezTo>
                      <a:lnTo>
                        <a:pt x="156307" y="905540"/>
                      </a:lnTo>
                      <a:cubicBezTo>
                        <a:pt x="156055" y="908452"/>
                        <a:pt x="155197" y="911280"/>
                        <a:pt x="153787" y="913847"/>
                      </a:cubicBezTo>
                      <a:cubicBezTo>
                        <a:pt x="147907" y="923180"/>
                        <a:pt x="133814" y="917393"/>
                        <a:pt x="125787" y="910020"/>
                      </a:cubicBezTo>
                      <a:cubicBezTo>
                        <a:pt x="83134" y="869233"/>
                        <a:pt x="85748" y="802127"/>
                        <a:pt x="75294" y="743980"/>
                      </a:cubicBezTo>
                      <a:cubicBezTo>
                        <a:pt x="63814" y="680233"/>
                        <a:pt x="33761" y="621433"/>
                        <a:pt x="16401" y="558993"/>
                      </a:cubicBezTo>
                      <a:cubicBezTo>
                        <a:pt x="-5822" y="481237"/>
                        <a:pt x="-5532" y="398777"/>
                        <a:pt x="17241" y="321180"/>
                      </a:cubicBezTo>
                      <a:cubicBezTo>
                        <a:pt x="31642" y="277761"/>
                        <a:pt x="50729" y="236041"/>
                        <a:pt x="74174" y="196767"/>
                      </a:cubicBezTo>
                      <a:cubicBezTo>
                        <a:pt x="96667" y="157007"/>
                        <a:pt x="121961" y="116967"/>
                        <a:pt x="159761" y="91300"/>
                      </a:cubicBezTo>
                      <a:cubicBezTo>
                        <a:pt x="186267" y="73193"/>
                        <a:pt x="253094" y="-22007"/>
                        <a:pt x="281094" y="4687"/>
                      </a:cubicBezTo>
                      <a:cubicBezTo>
                        <a:pt x="306481" y="28953"/>
                        <a:pt x="276147" y="149167"/>
                        <a:pt x="266254" y="175673"/>
                      </a:cubicBezTo>
                      <a:cubicBezTo>
                        <a:pt x="235734" y="259113"/>
                        <a:pt x="185987" y="337980"/>
                        <a:pt x="178801" y="428607"/>
                      </a:cubicBezTo>
                      <a:close/>
                    </a:path>
                  </a:pathLst>
                </a:custGeom>
                <a:solidFill>
                  <a:srgbClr val="000000">
                    <a:alpha val="0"/>
                  </a:srgbClr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85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CBB51FF9-616A-4082-B676-33DF16409E9F}"/>
                    </a:ext>
                  </a:extLst>
                </p:cNvPr>
                <p:cNvSpPr/>
                <p:nvPr/>
              </p:nvSpPr>
              <p:spPr>
                <a:xfrm>
                  <a:off x="4969704" y="3412051"/>
                  <a:ext cx="257730" cy="399316"/>
                </a:xfrm>
                <a:custGeom>
                  <a:avLst/>
                  <a:gdLst>
                    <a:gd name="connsiteX0" fmla="*/ 65249 w 564013"/>
                    <a:gd name="connsiteY0" fmla="*/ 759880 h 1052797"/>
                    <a:gd name="connsiteX1" fmla="*/ 23436 w 564013"/>
                    <a:gd name="connsiteY1" fmla="*/ 829414 h 1052797"/>
                    <a:gd name="connsiteX2" fmla="*/ 4303 w 564013"/>
                    <a:gd name="connsiteY2" fmla="*/ 975947 h 1052797"/>
                    <a:gd name="connsiteX3" fmla="*/ 40609 w 564013"/>
                    <a:gd name="connsiteY3" fmla="*/ 1042214 h 1052797"/>
                    <a:gd name="connsiteX4" fmla="*/ 109956 w 564013"/>
                    <a:gd name="connsiteY4" fmla="*/ 1036147 h 1052797"/>
                    <a:gd name="connsiteX5" fmla="*/ 135249 w 564013"/>
                    <a:gd name="connsiteY5" fmla="*/ 932827 h 1052797"/>
                    <a:gd name="connsiteX6" fmla="*/ 157556 w 564013"/>
                    <a:gd name="connsiteY6" fmla="*/ 937214 h 1052797"/>
                    <a:gd name="connsiteX7" fmla="*/ 162409 w 564013"/>
                    <a:gd name="connsiteY7" fmla="*/ 909214 h 1052797"/>
                    <a:gd name="connsiteX8" fmla="*/ 158489 w 564013"/>
                    <a:gd name="connsiteY8" fmla="*/ 820361 h 1052797"/>
                    <a:gd name="connsiteX9" fmla="*/ 225783 w 564013"/>
                    <a:gd name="connsiteY9" fmla="*/ 696041 h 1052797"/>
                    <a:gd name="connsiteX10" fmla="*/ 271889 w 564013"/>
                    <a:gd name="connsiteY10" fmla="*/ 527107 h 1052797"/>
                    <a:gd name="connsiteX11" fmla="*/ 354023 w 564013"/>
                    <a:gd name="connsiteY11" fmla="*/ 428547 h 1052797"/>
                    <a:gd name="connsiteX12" fmla="*/ 531356 w 564013"/>
                    <a:gd name="connsiteY12" fmla="*/ 168521 h 1052797"/>
                    <a:gd name="connsiteX13" fmla="*/ 563929 w 564013"/>
                    <a:gd name="connsiteY13" fmla="*/ 55587 h 1052797"/>
                    <a:gd name="connsiteX14" fmla="*/ 474236 w 564013"/>
                    <a:gd name="connsiteY14" fmla="*/ 54 h 1052797"/>
                    <a:gd name="connsiteX15" fmla="*/ 382396 w 564013"/>
                    <a:gd name="connsiteY15" fmla="*/ 45974 h 1052797"/>
                    <a:gd name="connsiteX16" fmla="*/ 323223 w 564013"/>
                    <a:gd name="connsiteY16" fmla="*/ 132587 h 1052797"/>
                    <a:gd name="connsiteX17" fmla="*/ 169969 w 564013"/>
                    <a:gd name="connsiteY17" fmla="*/ 403907 h 1052797"/>
                    <a:gd name="connsiteX18" fmla="*/ 65249 w 564013"/>
                    <a:gd name="connsiteY18" fmla="*/ 759880 h 1052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564013" h="1052797">
                      <a:moveTo>
                        <a:pt x="65249" y="759880"/>
                      </a:moveTo>
                      <a:cubicBezTo>
                        <a:pt x="51436" y="783214"/>
                        <a:pt x="35383" y="805147"/>
                        <a:pt x="23436" y="829414"/>
                      </a:cubicBezTo>
                      <a:cubicBezTo>
                        <a:pt x="1269" y="874867"/>
                        <a:pt x="-5451" y="926322"/>
                        <a:pt x="4303" y="975947"/>
                      </a:cubicBezTo>
                      <a:cubicBezTo>
                        <a:pt x="9343" y="1001240"/>
                        <a:pt x="19703" y="1027094"/>
                        <a:pt x="40609" y="1042214"/>
                      </a:cubicBezTo>
                      <a:cubicBezTo>
                        <a:pt x="61516" y="1057334"/>
                        <a:pt x="94836" y="1057054"/>
                        <a:pt x="109956" y="1036147"/>
                      </a:cubicBezTo>
                      <a:cubicBezTo>
                        <a:pt x="131329" y="1006561"/>
                        <a:pt x="107343" y="956254"/>
                        <a:pt x="135249" y="932827"/>
                      </a:cubicBezTo>
                      <a:cubicBezTo>
                        <a:pt x="135249" y="942161"/>
                        <a:pt x="151209" y="944681"/>
                        <a:pt x="157556" y="937214"/>
                      </a:cubicBezTo>
                      <a:cubicBezTo>
                        <a:pt x="162801" y="928888"/>
                        <a:pt x="164547" y="918818"/>
                        <a:pt x="162409" y="909214"/>
                      </a:cubicBezTo>
                      <a:cubicBezTo>
                        <a:pt x="159516" y="879347"/>
                        <a:pt x="161383" y="850227"/>
                        <a:pt x="158489" y="820361"/>
                      </a:cubicBezTo>
                      <a:cubicBezTo>
                        <a:pt x="184529" y="780880"/>
                        <a:pt x="210849" y="740841"/>
                        <a:pt x="225783" y="696041"/>
                      </a:cubicBezTo>
                      <a:cubicBezTo>
                        <a:pt x="244449" y="640041"/>
                        <a:pt x="244449" y="579001"/>
                        <a:pt x="271889" y="527107"/>
                      </a:cubicBezTo>
                      <a:cubicBezTo>
                        <a:pt x="291769" y="489027"/>
                        <a:pt x="324156" y="459441"/>
                        <a:pt x="354023" y="428547"/>
                      </a:cubicBezTo>
                      <a:cubicBezTo>
                        <a:pt x="427271" y="352406"/>
                        <a:pt x="487209" y="264505"/>
                        <a:pt x="531356" y="168521"/>
                      </a:cubicBezTo>
                      <a:cubicBezTo>
                        <a:pt x="547783" y="132681"/>
                        <a:pt x="562249" y="94974"/>
                        <a:pt x="563929" y="55587"/>
                      </a:cubicBezTo>
                      <a:cubicBezTo>
                        <a:pt x="565423" y="20587"/>
                        <a:pt x="509329" y="-1253"/>
                        <a:pt x="474236" y="54"/>
                      </a:cubicBezTo>
                      <a:cubicBezTo>
                        <a:pt x="439143" y="1361"/>
                        <a:pt x="406756" y="20681"/>
                        <a:pt x="382396" y="45974"/>
                      </a:cubicBezTo>
                      <a:cubicBezTo>
                        <a:pt x="359063" y="72210"/>
                        <a:pt x="339173" y="101311"/>
                        <a:pt x="323223" y="132587"/>
                      </a:cubicBezTo>
                      <a:cubicBezTo>
                        <a:pt x="272141" y="223055"/>
                        <a:pt x="221051" y="313495"/>
                        <a:pt x="169969" y="403907"/>
                      </a:cubicBezTo>
                      <a:cubicBezTo>
                        <a:pt x="159796" y="422387"/>
                        <a:pt x="102023" y="697814"/>
                        <a:pt x="65249" y="759880"/>
                      </a:cubicBezTo>
                      <a:close/>
                    </a:path>
                  </a:pathLst>
                </a:custGeom>
                <a:solidFill>
                  <a:srgbClr val="F7AF87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DD4C9DCD-CAA3-4C5A-97E6-A7C8EA832EFB}"/>
                    </a:ext>
                  </a:extLst>
                </p:cNvPr>
                <p:cNvSpPr/>
                <p:nvPr/>
              </p:nvSpPr>
              <p:spPr>
                <a:xfrm>
                  <a:off x="5341442" y="4232300"/>
                  <a:ext cx="131981" cy="61434"/>
                </a:xfrm>
                <a:custGeom>
                  <a:avLst/>
                  <a:gdLst>
                    <a:gd name="connsiteX0" fmla="*/ 9328 w 288825"/>
                    <a:gd name="connsiteY0" fmla="*/ 145412 h 161970"/>
                    <a:gd name="connsiteX1" fmla="*/ 16142 w 288825"/>
                    <a:gd name="connsiteY1" fmla="*/ 158385 h 161970"/>
                    <a:gd name="connsiteX2" fmla="*/ 31449 w 288825"/>
                    <a:gd name="connsiteY2" fmla="*/ 161839 h 161970"/>
                    <a:gd name="connsiteX3" fmla="*/ 267115 w 288825"/>
                    <a:gd name="connsiteY3" fmla="*/ 152039 h 161970"/>
                    <a:gd name="connsiteX4" fmla="*/ 288769 w 288825"/>
                    <a:gd name="connsiteY4" fmla="*/ 138972 h 161970"/>
                    <a:gd name="connsiteX5" fmla="*/ 286435 w 288825"/>
                    <a:gd name="connsiteY5" fmla="*/ 129639 h 161970"/>
                    <a:gd name="connsiteX6" fmla="*/ 202435 w 288825"/>
                    <a:gd name="connsiteY6" fmla="*/ 56465 h 161970"/>
                    <a:gd name="connsiteX7" fmla="*/ 107515 w 288825"/>
                    <a:gd name="connsiteY7" fmla="*/ 5505 h 161970"/>
                    <a:gd name="connsiteX8" fmla="*/ 88849 w 288825"/>
                    <a:gd name="connsiteY8" fmla="*/ -1 h 161970"/>
                    <a:gd name="connsiteX9" fmla="*/ 73449 w 288825"/>
                    <a:gd name="connsiteY9" fmla="*/ 6532 h 161970"/>
                    <a:gd name="connsiteX10" fmla="*/ 7089 w 288825"/>
                    <a:gd name="connsiteY10" fmla="*/ 40132 h 161970"/>
                    <a:gd name="connsiteX11" fmla="*/ 9328 w 288825"/>
                    <a:gd name="connsiteY11" fmla="*/ 145412 h 161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88825" h="161970">
                      <a:moveTo>
                        <a:pt x="9328" y="145412"/>
                      </a:moveTo>
                      <a:cubicBezTo>
                        <a:pt x="10169" y="150350"/>
                        <a:pt x="12558" y="154885"/>
                        <a:pt x="16142" y="158385"/>
                      </a:cubicBezTo>
                      <a:cubicBezTo>
                        <a:pt x="20725" y="161176"/>
                        <a:pt x="26110" y="162389"/>
                        <a:pt x="31449" y="161839"/>
                      </a:cubicBezTo>
                      <a:cubicBezTo>
                        <a:pt x="110157" y="161839"/>
                        <a:pt x="188715" y="158572"/>
                        <a:pt x="267115" y="152039"/>
                      </a:cubicBezTo>
                      <a:cubicBezTo>
                        <a:pt x="276449" y="151292"/>
                        <a:pt x="287929" y="148119"/>
                        <a:pt x="288769" y="138972"/>
                      </a:cubicBezTo>
                      <a:cubicBezTo>
                        <a:pt x="288815" y="135715"/>
                        <a:pt x="288013" y="132495"/>
                        <a:pt x="286435" y="129639"/>
                      </a:cubicBezTo>
                      <a:cubicBezTo>
                        <a:pt x="270195" y="95665"/>
                        <a:pt x="235662" y="74852"/>
                        <a:pt x="202435" y="56465"/>
                      </a:cubicBezTo>
                      <a:cubicBezTo>
                        <a:pt x="171327" y="38984"/>
                        <a:pt x="139687" y="21997"/>
                        <a:pt x="107515" y="5505"/>
                      </a:cubicBezTo>
                      <a:cubicBezTo>
                        <a:pt x="101971" y="1875"/>
                        <a:pt x="95475" y="-39"/>
                        <a:pt x="88849" y="-1"/>
                      </a:cubicBezTo>
                      <a:cubicBezTo>
                        <a:pt x="83314" y="1072"/>
                        <a:pt x="78069" y="3293"/>
                        <a:pt x="73449" y="6532"/>
                      </a:cubicBezTo>
                      <a:cubicBezTo>
                        <a:pt x="51888" y="18572"/>
                        <a:pt x="18755" y="15866"/>
                        <a:pt x="7089" y="40132"/>
                      </a:cubicBezTo>
                      <a:cubicBezTo>
                        <a:pt x="-6165" y="69065"/>
                        <a:pt x="1675" y="116012"/>
                        <a:pt x="9328" y="145412"/>
                      </a:cubicBezTo>
                      <a:close/>
                    </a:path>
                  </a:pathLst>
                </a:custGeom>
                <a:solidFill>
                  <a:srgbClr val="3E3E54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4D2DBD93-4A1E-4FC4-B4DF-3B4C96BE1AA3}"/>
                    </a:ext>
                  </a:extLst>
                </p:cNvPr>
                <p:cNvSpPr/>
                <p:nvPr/>
              </p:nvSpPr>
              <p:spPr>
                <a:xfrm>
                  <a:off x="4944827" y="4214070"/>
                  <a:ext cx="106772" cy="80360"/>
                </a:xfrm>
                <a:custGeom>
                  <a:avLst/>
                  <a:gdLst>
                    <a:gd name="connsiteX0" fmla="*/ 19171 w 233659"/>
                    <a:gd name="connsiteY0" fmla="*/ 29674 h 211869"/>
                    <a:gd name="connsiteX1" fmla="*/ -55 w 233659"/>
                    <a:gd name="connsiteY1" fmla="*/ 64114 h 211869"/>
                    <a:gd name="connsiteX2" fmla="*/ 11518 w 233659"/>
                    <a:gd name="connsiteY2" fmla="*/ 94820 h 211869"/>
                    <a:gd name="connsiteX3" fmla="*/ 64718 w 233659"/>
                    <a:gd name="connsiteY3" fmla="*/ 167714 h 211869"/>
                    <a:gd name="connsiteX4" fmla="*/ 99345 w 233659"/>
                    <a:gd name="connsiteY4" fmla="*/ 198140 h 211869"/>
                    <a:gd name="connsiteX5" fmla="*/ 129211 w 233659"/>
                    <a:gd name="connsiteY5" fmla="*/ 205420 h 211869"/>
                    <a:gd name="connsiteX6" fmla="*/ 204905 w 233659"/>
                    <a:gd name="connsiteY6" fmla="*/ 211580 h 211869"/>
                    <a:gd name="connsiteX7" fmla="*/ 226651 w 233659"/>
                    <a:gd name="connsiteY7" fmla="*/ 207100 h 211869"/>
                    <a:gd name="connsiteX8" fmla="*/ 228145 w 233659"/>
                    <a:gd name="connsiteY8" fmla="*/ 170420 h 211869"/>
                    <a:gd name="connsiteX9" fmla="*/ 196971 w 233659"/>
                    <a:gd name="connsiteY9" fmla="*/ 133087 h 211869"/>
                    <a:gd name="connsiteX10" fmla="*/ 180265 w 233659"/>
                    <a:gd name="connsiteY10" fmla="*/ 119274 h 211869"/>
                    <a:gd name="connsiteX11" fmla="*/ 168971 w 233659"/>
                    <a:gd name="connsiteY11" fmla="*/ 93700 h 211869"/>
                    <a:gd name="connsiteX12" fmla="*/ 143865 w 233659"/>
                    <a:gd name="connsiteY12" fmla="*/ 26314 h 211869"/>
                    <a:gd name="connsiteX13" fmla="*/ 131265 w 233659"/>
                    <a:gd name="connsiteY13" fmla="*/ 17540 h 211869"/>
                    <a:gd name="connsiteX14" fmla="*/ 67331 w 233659"/>
                    <a:gd name="connsiteY14" fmla="*/ 927 h 211869"/>
                    <a:gd name="connsiteX15" fmla="*/ 19171 w 233659"/>
                    <a:gd name="connsiteY15" fmla="*/ 29674 h 211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33659" h="211869">
                      <a:moveTo>
                        <a:pt x="19171" y="29674"/>
                      </a:moveTo>
                      <a:cubicBezTo>
                        <a:pt x="9838" y="39567"/>
                        <a:pt x="505" y="50674"/>
                        <a:pt x="-55" y="64114"/>
                      </a:cubicBezTo>
                      <a:cubicBezTo>
                        <a:pt x="654" y="75276"/>
                        <a:pt x="4677" y="85972"/>
                        <a:pt x="11518" y="94820"/>
                      </a:cubicBezTo>
                      <a:cubicBezTo>
                        <a:pt x="27805" y="120142"/>
                        <a:pt x="45566" y="144483"/>
                        <a:pt x="64718" y="167714"/>
                      </a:cubicBezTo>
                      <a:cubicBezTo>
                        <a:pt x="73809" y="180351"/>
                        <a:pt x="85643" y="190758"/>
                        <a:pt x="99345" y="198140"/>
                      </a:cubicBezTo>
                      <a:cubicBezTo>
                        <a:pt x="108893" y="202014"/>
                        <a:pt x="118954" y="204468"/>
                        <a:pt x="129211" y="205420"/>
                      </a:cubicBezTo>
                      <a:cubicBezTo>
                        <a:pt x="154318" y="208687"/>
                        <a:pt x="179611" y="210834"/>
                        <a:pt x="204905" y="211580"/>
                      </a:cubicBezTo>
                      <a:cubicBezTo>
                        <a:pt x="212455" y="212570"/>
                        <a:pt x="220109" y="210992"/>
                        <a:pt x="226651" y="207100"/>
                      </a:cubicBezTo>
                      <a:cubicBezTo>
                        <a:pt x="237105" y="198887"/>
                        <a:pt x="234211" y="182274"/>
                        <a:pt x="228145" y="170420"/>
                      </a:cubicBezTo>
                      <a:cubicBezTo>
                        <a:pt x="220678" y="155795"/>
                        <a:pt x="210029" y="143046"/>
                        <a:pt x="196971" y="133087"/>
                      </a:cubicBezTo>
                      <a:cubicBezTo>
                        <a:pt x="190877" y="129158"/>
                        <a:pt x="185267" y="124519"/>
                        <a:pt x="180265" y="119274"/>
                      </a:cubicBezTo>
                      <a:cubicBezTo>
                        <a:pt x="174786" y="111611"/>
                        <a:pt x="170950" y="102903"/>
                        <a:pt x="168971" y="93700"/>
                      </a:cubicBezTo>
                      <a:cubicBezTo>
                        <a:pt x="162046" y="70722"/>
                        <a:pt x="153665" y="48219"/>
                        <a:pt x="143865" y="26314"/>
                      </a:cubicBezTo>
                      <a:cubicBezTo>
                        <a:pt x="142530" y="20602"/>
                        <a:pt x="137089" y="16812"/>
                        <a:pt x="131265" y="17540"/>
                      </a:cubicBezTo>
                      <a:cubicBezTo>
                        <a:pt x="107558" y="16607"/>
                        <a:pt x="89358" y="7367"/>
                        <a:pt x="67331" y="927"/>
                      </a:cubicBezTo>
                      <a:cubicBezTo>
                        <a:pt x="47638" y="-4673"/>
                        <a:pt x="31491" y="16327"/>
                        <a:pt x="19171" y="29674"/>
                      </a:cubicBezTo>
                      <a:close/>
                    </a:path>
                  </a:pathLst>
                </a:custGeom>
                <a:solidFill>
                  <a:srgbClr val="3E3E54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8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3EC4078D-CA50-421F-BCB1-00108055FA48}"/>
                    </a:ext>
                  </a:extLst>
                </p:cNvPr>
                <p:cNvSpPr/>
                <p:nvPr/>
              </p:nvSpPr>
              <p:spPr>
                <a:xfrm>
                  <a:off x="5070843" y="3664583"/>
                  <a:ext cx="152015" cy="256845"/>
                </a:xfrm>
                <a:custGeom>
                  <a:avLst/>
                  <a:gdLst>
                    <a:gd name="connsiteX0" fmla="*/ 186080 w 332669"/>
                    <a:gd name="connsiteY0" fmla="*/ 380145 h 677171"/>
                    <a:gd name="connsiteX1" fmla="*/ 332614 w 332669"/>
                    <a:gd name="connsiteY1" fmla="*/ 564758 h 677171"/>
                    <a:gd name="connsiteX2" fmla="*/ 305454 w 332669"/>
                    <a:gd name="connsiteY2" fmla="*/ 660145 h 677171"/>
                    <a:gd name="connsiteX3" fmla="*/ 265880 w 332669"/>
                    <a:gd name="connsiteY3" fmla="*/ 673212 h 677171"/>
                    <a:gd name="connsiteX4" fmla="*/ 46547 w 332669"/>
                    <a:gd name="connsiteY4" fmla="*/ 636532 h 677171"/>
                    <a:gd name="connsiteX5" fmla="*/ 27880 w 332669"/>
                    <a:gd name="connsiteY5" fmla="*/ 619452 h 677171"/>
                    <a:gd name="connsiteX6" fmla="*/ 14347 w 332669"/>
                    <a:gd name="connsiteY6" fmla="*/ 602092 h 677171"/>
                    <a:gd name="connsiteX7" fmla="*/ -26 w 332669"/>
                    <a:gd name="connsiteY7" fmla="*/ 597238 h 677171"/>
                    <a:gd name="connsiteX8" fmla="*/ 10987 w 332669"/>
                    <a:gd name="connsiteY8" fmla="*/ 506052 h 677171"/>
                    <a:gd name="connsiteX9" fmla="*/ 79774 w 332669"/>
                    <a:gd name="connsiteY9" fmla="*/ 117132 h 677171"/>
                    <a:gd name="connsiteX10" fmla="*/ 102360 w 332669"/>
                    <a:gd name="connsiteY10" fmla="*/ 41158 h 677171"/>
                    <a:gd name="connsiteX11" fmla="*/ 102360 w 332669"/>
                    <a:gd name="connsiteY11" fmla="*/ 41158 h 677171"/>
                    <a:gd name="connsiteX12" fmla="*/ 128120 w 332669"/>
                    <a:gd name="connsiteY12" fmla="*/ -2 h 677171"/>
                    <a:gd name="connsiteX13" fmla="*/ 186080 w 332669"/>
                    <a:gd name="connsiteY13" fmla="*/ 380145 h 677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32669" h="677171">
                      <a:moveTo>
                        <a:pt x="186080" y="380145"/>
                      </a:moveTo>
                      <a:cubicBezTo>
                        <a:pt x="218187" y="443238"/>
                        <a:pt x="268400" y="493452"/>
                        <a:pt x="332614" y="564758"/>
                      </a:cubicBezTo>
                      <a:cubicBezTo>
                        <a:pt x="330654" y="591265"/>
                        <a:pt x="315160" y="653238"/>
                        <a:pt x="305454" y="660145"/>
                      </a:cubicBezTo>
                      <a:cubicBezTo>
                        <a:pt x="293507" y="667630"/>
                        <a:pt x="279936" y="672120"/>
                        <a:pt x="265880" y="673212"/>
                      </a:cubicBezTo>
                      <a:cubicBezTo>
                        <a:pt x="190728" y="684449"/>
                        <a:pt x="113952" y="671616"/>
                        <a:pt x="46547" y="636532"/>
                      </a:cubicBezTo>
                      <a:lnTo>
                        <a:pt x="27880" y="619452"/>
                      </a:lnTo>
                      <a:cubicBezTo>
                        <a:pt x="22000" y="614869"/>
                        <a:pt x="17352" y="608905"/>
                        <a:pt x="14347" y="602092"/>
                      </a:cubicBezTo>
                      <a:cubicBezTo>
                        <a:pt x="13600" y="599945"/>
                        <a:pt x="7720" y="598452"/>
                        <a:pt x="-26" y="597238"/>
                      </a:cubicBezTo>
                      <a:cubicBezTo>
                        <a:pt x="-679" y="578572"/>
                        <a:pt x="9867" y="513985"/>
                        <a:pt x="10987" y="506052"/>
                      </a:cubicBezTo>
                      <a:cubicBezTo>
                        <a:pt x="29654" y="375385"/>
                        <a:pt x="48321" y="244718"/>
                        <a:pt x="79774" y="117132"/>
                      </a:cubicBezTo>
                      <a:cubicBezTo>
                        <a:pt x="85551" y="91316"/>
                        <a:pt x="93102" y="65938"/>
                        <a:pt x="102360" y="41158"/>
                      </a:cubicBezTo>
                      <a:lnTo>
                        <a:pt x="102360" y="41158"/>
                      </a:lnTo>
                      <a:cubicBezTo>
                        <a:pt x="109034" y="26328"/>
                        <a:pt x="117704" y="12486"/>
                        <a:pt x="128120" y="-2"/>
                      </a:cubicBezTo>
                      <a:cubicBezTo>
                        <a:pt x="127094" y="4758"/>
                        <a:pt x="81360" y="173505"/>
                        <a:pt x="186080" y="380145"/>
                      </a:cubicBezTo>
                      <a:close/>
                    </a:path>
                  </a:pathLst>
                </a:custGeom>
                <a:solidFill>
                  <a:schemeClr val="bg2">
                    <a:lumMod val="50000"/>
                  </a:schemeClr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8990D9E3-77E0-49D9-8BF6-00C01A4360F0}"/>
                    </a:ext>
                  </a:extLst>
                </p:cNvPr>
                <p:cNvSpPr/>
                <p:nvPr/>
              </p:nvSpPr>
              <p:spPr>
                <a:xfrm>
                  <a:off x="5215821" y="3898722"/>
                  <a:ext cx="1663" cy="5345"/>
                </a:xfrm>
                <a:custGeom>
                  <a:avLst/>
                  <a:gdLst>
                    <a:gd name="connsiteX0" fmla="*/ 3585 w 3639"/>
                    <a:gd name="connsiteY0" fmla="*/ 14092 h 14093"/>
                    <a:gd name="connsiteX1" fmla="*/ -55 w 3639"/>
                    <a:gd name="connsiteY1" fmla="*/ -2 h 14093"/>
                    <a:gd name="connsiteX2" fmla="*/ 3585 w 3639"/>
                    <a:gd name="connsiteY2" fmla="*/ 14092 h 14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39" h="14093">
                      <a:moveTo>
                        <a:pt x="3585" y="14092"/>
                      </a:moveTo>
                      <a:cubicBezTo>
                        <a:pt x="2371" y="9145"/>
                        <a:pt x="1158" y="4758"/>
                        <a:pt x="-55" y="-2"/>
                      </a:cubicBezTo>
                      <a:cubicBezTo>
                        <a:pt x="1671" y="4553"/>
                        <a:pt x="2894" y="9275"/>
                        <a:pt x="3585" y="1409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" name="Graphic 459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38A6DA13-3BA8-481F-BA92-4EC5F535EFB5}"/>
                    </a:ext>
                  </a:extLst>
                </p:cNvPr>
                <p:cNvSpPr/>
                <p:nvPr/>
              </p:nvSpPr>
              <p:spPr>
                <a:xfrm>
                  <a:off x="5231946" y="3671388"/>
                  <a:ext cx="119361" cy="243838"/>
                </a:xfrm>
                <a:custGeom>
                  <a:avLst/>
                  <a:gdLst>
                    <a:gd name="connsiteX0" fmla="*/ 260847 w 261208"/>
                    <a:gd name="connsiteY0" fmla="*/ 589118 h 642880"/>
                    <a:gd name="connsiteX1" fmla="*/ 226780 w 261208"/>
                    <a:gd name="connsiteY1" fmla="*/ 637092 h 642880"/>
                    <a:gd name="connsiteX2" fmla="*/ 212313 w 261208"/>
                    <a:gd name="connsiteY2" fmla="*/ 642878 h 642880"/>
                    <a:gd name="connsiteX3" fmla="*/ 211193 w 261208"/>
                    <a:gd name="connsiteY3" fmla="*/ 641852 h 642880"/>
                    <a:gd name="connsiteX4" fmla="*/ 197567 w 261208"/>
                    <a:gd name="connsiteY4" fmla="*/ 611892 h 642880"/>
                    <a:gd name="connsiteX5" fmla="*/ 48887 w 261208"/>
                    <a:gd name="connsiteY5" fmla="*/ 149705 h 642880"/>
                    <a:gd name="connsiteX6" fmla="*/ 7540 w 261208"/>
                    <a:gd name="connsiteY6" fmla="*/ 3078 h 642880"/>
                    <a:gd name="connsiteX7" fmla="*/ 59620 w 261208"/>
                    <a:gd name="connsiteY7" fmla="*/ -2 h 642880"/>
                    <a:gd name="connsiteX8" fmla="*/ 111700 w 261208"/>
                    <a:gd name="connsiteY8" fmla="*/ 34252 h 642880"/>
                    <a:gd name="connsiteX9" fmla="*/ 173207 w 261208"/>
                    <a:gd name="connsiteY9" fmla="*/ 164918 h 642880"/>
                    <a:gd name="connsiteX10" fmla="*/ 260847 w 261208"/>
                    <a:gd name="connsiteY10" fmla="*/ 589118 h 642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1208" h="642880">
                      <a:moveTo>
                        <a:pt x="260847" y="589118"/>
                      </a:moveTo>
                      <a:cubicBezTo>
                        <a:pt x="263488" y="611481"/>
                        <a:pt x="248769" y="632220"/>
                        <a:pt x="226780" y="637092"/>
                      </a:cubicBezTo>
                      <a:cubicBezTo>
                        <a:pt x="222113" y="639145"/>
                        <a:pt x="217447" y="641012"/>
                        <a:pt x="212313" y="642878"/>
                      </a:cubicBezTo>
                      <a:lnTo>
                        <a:pt x="211193" y="641852"/>
                      </a:lnTo>
                      <a:cubicBezTo>
                        <a:pt x="204221" y="633153"/>
                        <a:pt x="199536" y="622858"/>
                        <a:pt x="197567" y="611892"/>
                      </a:cubicBezTo>
                      <a:cubicBezTo>
                        <a:pt x="158049" y="454774"/>
                        <a:pt x="108387" y="300392"/>
                        <a:pt x="48887" y="149705"/>
                      </a:cubicBezTo>
                      <a:cubicBezTo>
                        <a:pt x="35540" y="115638"/>
                        <a:pt x="-20087" y="42185"/>
                        <a:pt x="7540" y="3078"/>
                      </a:cubicBezTo>
                      <a:cubicBezTo>
                        <a:pt x="24825" y="1044"/>
                        <a:pt x="42213" y="17"/>
                        <a:pt x="59620" y="-2"/>
                      </a:cubicBezTo>
                      <a:cubicBezTo>
                        <a:pt x="82767" y="838"/>
                        <a:pt x="96953" y="15958"/>
                        <a:pt x="111700" y="34252"/>
                      </a:cubicBezTo>
                      <a:cubicBezTo>
                        <a:pt x="142500" y="71585"/>
                        <a:pt x="159020" y="119185"/>
                        <a:pt x="173207" y="164918"/>
                      </a:cubicBezTo>
                      <a:cubicBezTo>
                        <a:pt x="211193" y="285692"/>
                        <a:pt x="264767" y="462558"/>
                        <a:pt x="260847" y="589118"/>
                      </a:cubicBezTo>
                      <a:close/>
                    </a:path>
                  </a:pathLst>
                </a:custGeom>
                <a:solidFill>
                  <a:schemeClr val="bg2">
                    <a:lumMod val="50000"/>
                  </a:schemeClr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cxnSp>
            <p:nvCxnSpPr>
              <p:cNvPr id="50" name="Straight Arrow Connector 49">
                <a:extLst>
                  <a:ext uri="{FF2B5EF4-FFF2-40B4-BE49-F238E27FC236}">
                    <a16:creationId xmlns:a16="http://schemas.microsoft.com/office/drawing/2014/main" id="{891A02CF-E5E9-4F70-B8B1-4AEB457BE1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89601" y="1592953"/>
                <a:ext cx="1879947" cy="16979"/>
              </a:xfrm>
              <a:prstGeom prst="straightConnector1">
                <a:avLst/>
              </a:prstGeom>
              <a:ln>
                <a:solidFill>
                  <a:schemeClr val="accent1">
                    <a:alpha val="92000"/>
                  </a:schemeClr>
                </a:solidFill>
                <a:headEnd type="none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031490FD-6BF3-4FD0-BEA5-6E49917E59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94813" y="2979831"/>
                <a:ext cx="589485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47FAE911-8032-4842-906B-34B320839BE9}"/>
                  </a:ext>
                </a:extLst>
              </p:cNvPr>
              <p:cNvCxnSpPr/>
              <p:nvPr/>
            </p:nvCxnSpPr>
            <p:spPr>
              <a:xfrm>
                <a:off x="1584493" y="2979831"/>
                <a:ext cx="0" cy="178304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71228259-AB2A-494F-BD13-58DFF0101DA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72196" y="2981431"/>
                <a:ext cx="0" cy="239128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>
                <a:extLst>
                  <a:ext uri="{FF2B5EF4-FFF2-40B4-BE49-F238E27FC236}">
                    <a16:creationId xmlns:a16="http://schemas.microsoft.com/office/drawing/2014/main" id="{F5256125-E713-459B-AFF5-D9E65FB51C5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486913" y="2978232"/>
                <a:ext cx="2759" cy="278299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B0D0D535-F5AD-4F12-BA07-76EF435A773E}"/>
                  </a:ext>
                </a:extLst>
              </p:cNvPr>
              <p:cNvSpPr txBox="1"/>
              <p:nvPr/>
            </p:nvSpPr>
            <p:spPr>
              <a:xfrm>
                <a:off x="5208771" y="2240285"/>
                <a:ext cx="94498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Access Control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C0724269-AC62-4F71-86EC-CDDE45639B33}"/>
                  </a:ext>
                </a:extLst>
              </p:cNvPr>
              <p:cNvSpPr/>
              <p:nvPr/>
            </p:nvSpPr>
            <p:spPr>
              <a:xfrm>
                <a:off x="5962175" y="2440987"/>
                <a:ext cx="79099" cy="15205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7" name="Lock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7AB1016E-D1D6-481B-8CCB-FC61D00FCF86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 bwMode="auto">
              <a:xfrm>
                <a:off x="5823041" y="2153742"/>
                <a:ext cx="334760" cy="489498"/>
                <a:chOff x="12" y="-34"/>
                <a:chExt cx="331" cy="484"/>
              </a:xfrm>
              <a:solidFill>
                <a:schemeClr val="accent1"/>
              </a:solidFill>
            </p:grpSpPr>
            <p:sp>
              <p:nvSpPr>
                <p:cNvPr id="72" name="Lock">
                  <a:extLst>
                    <a:ext uri="{FF2B5EF4-FFF2-40B4-BE49-F238E27FC236}">
                      <a16:creationId xmlns:a16="http://schemas.microsoft.com/office/drawing/2014/main" id="{FC9A81EF-20C0-43F4-9624-E819C537A99D}"/>
                    </a:ext>
                  </a:extLst>
                </p:cNvPr>
                <p:cNvSpPr>
                  <a:spLocks noEditPoints="1"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>
                  <a:off x="12" y="174"/>
                  <a:ext cx="331" cy="276"/>
                </a:xfrm>
                <a:custGeom>
                  <a:avLst/>
                  <a:gdLst>
                    <a:gd name="T0" fmla="*/ 388 w 750"/>
                    <a:gd name="T1" fmla="*/ 361 h 625"/>
                    <a:gd name="T2" fmla="*/ 425 w 750"/>
                    <a:gd name="T3" fmla="*/ 313 h 625"/>
                    <a:gd name="T4" fmla="*/ 375 w 750"/>
                    <a:gd name="T5" fmla="*/ 263 h 625"/>
                    <a:gd name="T6" fmla="*/ 325 w 750"/>
                    <a:gd name="T7" fmla="*/ 313 h 625"/>
                    <a:gd name="T8" fmla="*/ 363 w 750"/>
                    <a:gd name="T9" fmla="*/ 361 h 625"/>
                    <a:gd name="T10" fmla="*/ 363 w 750"/>
                    <a:gd name="T11" fmla="*/ 390 h 625"/>
                    <a:gd name="T12" fmla="*/ 363 w 750"/>
                    <a:gd name="T13" fmla="*/ 413 h 625"/>
                    <a:gd name="T14" fmla="*/ 370 w 750"/>
                    <a:gd name="T15" fmla="*/ 413 h 625"/>
                    <a:gd name="T16" fmla="*/ 380 w 750"/>
                    <a:gd name="T17" fmla="*/ 413 h 625"/>
                    <a:gd name="T18" fmla="*/ 388 w 750"/>
                    <a:gd name="T19" fmla="*/ 413 h 625"/>
                    <a:gd name="T20" fmla="*/ 388 w 750"/>
                    <a:gd name="T21" fmla="*/ 384 h 625"/>
                    <a:gd name="T22" fmla="*/ 388 w 750"/>
                    <a:gd name="T23" fmla="*/ 361 h 625"/>
                    <a:gd name="T24" fmla="*/ 0 w 750"/>
                    <a:gd name="T25" fmla="*/ 50 h 625"/>
                    <a:gd name="T26" fmla="*/ 50 w 750"/>
                    <a:gd name="T27" fmla="*/ 0 h 625"/>
                    <a:gd name="T28" fmla="*/ 700 w 750"/>
                    <a:gd name="T29" fmla="*/ 0 h 625"/>
                    <a:gd name="T30" fmla="*/ 750 w 750"/>
                    <a:gd name="T31" fmla="*/ 50 h 625"/>
                    <a:gd name="T32" fmla="*/ 750 w 750"/>
                    <a:gd name="T33" fmla="*/ 575 h 625"/>
                    <a:gd name="T34" fmla="*/ 700 w 750"/>
                    <a:gd name="T35" fmla="*/ 625 h 625"/>
                    <a:gd name="T36" fmla="*/ 50 w 750"/>
                    <a:gd name="T37" fmla="*/ 625 h 625"/>
                    <a:gd name="T38" fmla="*/ 0 w 750"/>
                    <a:gd name="T39" fmla="*/ 575 h 625"/>
                    <a:gd name="T40" fmla="*/ 0 w 750"/>
                    <a:gd name="T41" fmla="*/ 50 h 6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50" h="625">
                      <a:moveTo>
                        <a:pt x="388" y="361"/>
                      </a:moveTo>
                      <a:cubicBezTo>
                        <a:pt x="409" y="355"/>
                        <a:pt x="425" y="336"/>
                        <a:pt x="425" y="313"/>
                      </a:cubicBezTo>
                      <a:cubicBezTo>
                        <a:pt x="425" y="285"/>
                        <a:pt x="403" y="263"/>
                        <a:pt x="375" y="263"/>
                      </a:cubicBezTo>
                      <a:cubicBezTo>
                        <a:pt x="347" y="263"/>
                        <a:pt x="325" y="285"/>
                        <a:pt x="325" y="313"/>
                      </a:cubicBezTo>
                      <a:cubicBezTo>
                        <a:pt x="325" y="336"/>
                        <a:pt x="341" y="355"/>
                        <a:pt x="363" y="361"/>
                      </a:cubicBezTo>
                      <a:lnTo>
                        <a:pt x="363" y="390"/>
                      </a:lnTo>
                      <a:lnTo>
                        <a:pt x="363" y="413"/>
                      </a:lnTo>
                      <a:lnTo>
                        <a:pt x="370" y="413"/>
                      </a:lnTo>
                      <a:lnTo>
                        <a:pt x="380" y="413"/>
                      </a:lnTo>
                      <a:lnTo>
                        <a:pt x="388" y="413"/>
                      </a:lnTo>
                      <a:lnTo>
                        <a:pt x="388" y="384"/>
                      </a:lnTo>
                      <a:lnTo>
                        <a:pt x="388" y="361"/>
                      </a:lnTo>
                      <a:close/>
                      <a:moveTo>
                        <a:pt x="0" y="50"/>
                      </a:moveTo>
                      <a:cubicBezTo>
                        <a:pt x="0" y="22"/>
                        <a:pt x="22" y="0"/>
                        <a:pt x="50" y="0"/>
                      </a:cubicBezTo>
                      <a:lnTo>
                        <a:pt x="700" y="0"/>
                      </a:lnTo>
                      <a:cubicBezTo>
                        <a:pt x="728" y="0"/>
                        <a:pt x="750" y="22"/>
                        <a:pt x="750" y="50"/>
                      </a:cubicBezTo>
                      <a:lnTo>
                        <a:pt x="750" y="575"/>
                      </a:lnTo>
                      <a:cubicBezTo>
                        <a:pt x="750" y="603"/>
                        <a:pt x="728" y="625"/>
                        <a:pt x="700" y="625"/>
                      </a:cubicBezTo>
                      <a:lnTo>
                        <a:pt x="50" y="625"/>
                      </a:lnTo>
                      <a:cubicBezTo>
                        <a:pt x="22" y="625"/>
                        <a:pt x="0" y="603"/>
                        <a:pt x="0" y="575"/>
                      </a:cubicBezTo>
                      <a:lnTo>
                        <a:pt x="0" y="5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Lock">
                  <a:extLst>
                    <a:ext uri="{FF2B5EF4-FFF2-40B4-BE49-F238E27FC236}">
                      <a16:creationId xmlns:a16="http://schemas.microsoft.com/office/drawing/2014/main" id="{496968BB-1C83-4106-8672-FE668BD06B1E}"/>
                    </a:ext>
                  </a:extLst>
                </p:cNvPr>
                <p:cNvSpPr>
                  <a:spLocks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33" y="-34"/>
                  <a:ext cx="287" cy="276"/>
                </a:xfrm>
                <a:custGeom>
                  <a:avLst/>
                  <a:gdLst>
                    <a:gd name="T0" fmla="*/ 325 w 650"/>
                    <a:gd name="T1" fmla="*/ 0 h 625"/>
                    <a:gd name="T2" fmla="*/ 650 w 650"/>
                    <a:gd name="T3" fmla="*/ 275 h 625"/>
                    <a:gd name="T4" fmla="*/ 650 w 650"/>
                    <a:gd name="T5" fmla="*/ 525 h 625"/>
                    <a:gd name="T6" fmla="*/ 550 w 650"/>
                    <a:gd name="T7" fmla="*/ 525 h 625"/>
                    <a:gd name="T8" fmla="*/ 550 w 650"/>
                    <a:gd name="T9" fmla="*/ 500 h 625"/>
                    <a:gd name="T10" fmla="*/ 575 w 650"/>
                    <a:gd name="T11" fmla="*/ 500 h 625"/>
                    <a:gd name="T12" fmla="*/ 575 w 650"/>
                    <a:gd name="T13" fmla="*/ 475 h 625"/>
                    <a:gd name="T14" fmla="*/ 550 w 650"/>
                    <a:gd name="T15" fmla="*/ 475 h 625"/>
                    <a:gd name="T16" fmla="*/ 550 w 650"/>
                    <a:gd name="T17" fmla="*/ 275 h 625"/>
                    <a:gd name="T18" fmla="*/ 325 w 650"/>
                    <a:gd name="T19" fmla="*/ 100 h 625"/>
                    <a:gd name="T20" fmla="*/ 100 w 650"/>
                    <a:gd name="T21" fmla="*/ 275 h 625"/>
                    <a:gd name="T22" fmla="*/ 100 w 650"/>
                    <a:gd name="T23" fmla="*/ 625 h 625"/>
                    <a:gd name="T24" fmla="*/ 0 w 650"/>
                    <a:gd name="T25" fmla="*/ 625 h 625"/>
                    <a:gd name="T26" fmla="*/ 0 w 650"/>
                    <a:gd name="T27" fmla="*/ 275 h 625"/>
                    <a:gd name="T28" fmla="*/ 325 w 650"/>
                    <a:gd name="T29" fmla="*/ 0 h 6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50" h="625">
                      <a:moveTo>
                        <a:pt x="325" y="0"/>
                      </a:moveTo>
                      <a:cubicBezTo>
                        <a:pt x="650" y="0"/>
                        <a:pt x="650" y="275"/>
                        <a:pt x="650" y="275"/>
                      </a:cubicBezTo>
                      <a:lnTo>
                        <a:pt x="650" y="525"/>
                      </a:lnTo>
                      <a:lnTo>
                        <a:pt x="550" y="525"/>
                      </a:lnTo>
                      <a:lnTo>
                        <a:pt x="550" y="500"/>
                      </a:lnTo>
                      <a:lnTo>
                        <a:pt x="575" y="500"/>
                      </a:lnTo>
                      <a:lnTo>
                        <a:pt x="575" y="475"/>
                      </a:lnTo>
                      <a:lnTo>
                        <a:pt x="550" y="475"/>
                      </a:lnTo>
                      <a:lnTo>
                        <a:pt x="550" y="275"/>
                      </a:lnTo>
                      <a:cubicBezTo>
                        <a:pt x="550" y="275"/>
                        <a:pt x="550" y="100"/>
                        <a:pt x="325" y="100"/>
                      </a:cubicBezTo>
                      <a:cubicBezTo>
                        <a:pt x="100" y="100"/>
                        <a:pt x="100" y="275"/>
                        <a:pt x="100" y="275"/>
                      </a:cubicBezTo>
                      <a:lnTo>
                        <a:pt x="100" y="625"/>
                      </a:lnTo>
                      <a:lnTo>
                        <a:pt x="0" y="625"/>
                      </a:lnTo>
                      <a:lnTo>
                        <a:pt x="0" y="275"/>
                      </a:lnTo>
                      <a:cubicBezTo>
                        <a:pt x="0" y="275"/>
                        <a:pt x="0" y="0"/>
                        <a:pt x="325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3AA6BC41-C828-4EDC-B3F7-2C5C925BF754}"/>
                  </a:ext>
                </a:extLst>
              </p:cNvPr>
              <p:cNvGrpSpPr/>
              <p:nvPr/>
            </p:nvGrpSpPr>
            <p:grpSpPr>
              <a:xfrm>
                <a:off x="6795849" y="3397264"/>
                <a:ext cx="1303692" cy="850240"/>
                <a:chOff x="-687716" y="-1213202"/>
                <a:chExt cx="1764595" cy="1245015"/>
              </a:xfrm>
            </p:grpSpPr>
            <p:sp>
              <p:nvSpPr>
                <p:cNvPr id="61" name="Graphic 11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B93DCE51-834D-4F1B-97F4-5F5C4E5DA243}"/>
                    </a:ext>
                  </a:extLst>
                </p:cNvPr>
                <p:cNvSpPr/>
                <p:nvPr/>
              </p:nvSpPr>
              <p:spPr>
                <a:xfrm>
                  <a:off x="-687716" y="-1213202"/>
                  <a:ext cx="1764595" cy="892779"/>
                </a:xfrm>
                <a:custGeom>
                  <a:avLst/>
                  <a:gdLst>
                    <a:gd name="connsiteX0" fmla="*/ 1764571 w 1764595"/>
                    <a:gd name="connsiteY0" fmla="*/ 702830 h 892779"/>
                    <a:gd name="connsiteX1" fmla="*/ 1706211 w 1764595"/>
                    <a:gd name="connsiteY1" fmla="*/ 838801 h 892779"/>
                    <a:gd name="connsiteX2" fmla="*/ 1589795 w 1764595"/>
                    <a:gd name="connsiteY2" fmla="*/ 891617 h 892779"/>
                    <a:gd name="connsiteX3" fmla="*/ 1565302 w 1764595"/>
                    <a:gd name="connsiteY3" fmla="*/ 892726 h 892779"/>
                    <a:gd name="connsiteX4" fmla="*/ 199044 w 1764595"/>
                    <a:gd name="connsiteY4" fmla="*/ 864907 h 892779"/>
                    <a:gd name="connsiteX5" fmla="*/ -24 w 1764595"/>
                    <a:gd name="connsiteY5" fmla="*/ 667049 h 892779"/>
                    <a:gd name="connsiteX6" fmla="*/ 58235 w 1764595"/>
                    <a:gd name="connsiteY6" fmla="*/ 531481 h 892779"/>
                    <a:gd name="connsiteX7" fmla="*/ 199346 w 1764595"/>
                    <a:gd name="connsiteY7" fmla="*/ 477557 h 892779"/>
                    <a:gd name="connsiteX8" fmla="*/ 245711 w 1764595"/>
                    <a:gd name="connsiteY8" fmla="*/ 478464 h 892779"/>
                    <a:gd name="connsiteX9" fmla="*/ 230491 w 1764595"/>
                    <a:gd name="connsiteY9" fmla="*/ 374344 h 892779"/>
                    <a:gd name="connsiteX10" fmla="*/ 345497 w 1764595"/>
                    <a:gd name="connsiteY10" fmla="*/ 106333 h 892779"/>
                    <a:gd name="connsiteX11" fmla="*/ 456370 w 1764595"/>
                    <a:gd name="connsiteY11" fmla="*/ 33056 h 892779"/>
                    <a:gd name="connsiteX12" fmla="*/ 623587 w 1764595"/>
                    <a:gd name="connsiteY12" fmla="*/ 97 h 892779"/>
                    <a:gd name="connsiteX13" fmla="*/ 739701 w 1764595"/>
                    <a:gd name="connsiteY13" fmla="*/ 2516 h 892779"/>
                    <a:gd name="connsiteX14" fmla="*/ 1088145 w 1764595"/>
                    <a:gd name="connsiteY14" fmla="*/ 215594 h 892779"/>
                    <a:gd name="connsiteX15" fmla="*/ 1195389 w 1764595"/>
                    <a:gd name="connsiteY15" fmla="*/ 192714 h 892779"/>
                    <a:gd name="connsiteX16" fmla="*/ 1225627 w 1764595"/>
                    <a:gd name="connsiteY16" fmla="*/ 193318 h 892779"/>
                    <a:gd name="connsiteX17" fmla="*/ 1461888 w 1764595"/>
                    <a:gd name="connsiteY17" fmla="*/ 428067 h 892779"/>
                    <a:gd name="connsiteX18" fmla="*/ 1461888 w 1764595"/>
                    <a:gd name="connsiteY18" fmla="*/ 439356 h 892779"/>
                    <a:gd name="connsiteX19" fmla="*/ 1452615 w 1764595"/>
                    <a:gd name="connsiteY19" fmla="*/ 502553 h 892779"/>
                    <a:gd name="connsiteX20" fmla="*/ 1565705 w 1764595"/>
                    <a:gd name="connsiteY20" fmla="*/ 504972 h 892779"/>
                    <a:gd name="connsiteX21" fmla="*/ 1764571 w 1764595"/>
                    <a:gd name="connsiteY21" fmla="*/ 702830 h 892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764595" h="892779">
                      <a:moveTo>
                        <a:pt x="1764571" y="702830"/>
                      </a:moveTo>
                      <a:cubicBezTo>
                        <a:pt x="1764654" y="754253"/>
                        <a:pt x="1743544" y="803438"/>
                        <a:pt x="1706211" y="838801"/>
                      </a:cubicBezTo>
                      <a:cubicBezTo>
                        <a:pt x="1674389" y="868906"/>
                        <a:pt x="1633408" y="887499"/>
                        <a:pt x="1589795" y="891617"/>
                      </a:cubicBezTo>
                      <a:cubicBezTo>
                        <a:pt x="1581665" y="892544"/>
                        <a:pt x="1573482" y="892914"/>
                        <a:pt x="1565302" y="892726"/>
                      </a:cubicBezTo>
                      <a:lnTo>
                        <a:pt x="199044" y="864907"/>
                      </a:lnTo>
                      <a:cubicBezTo>
                        <a:pt x="88977" y="862790"/>
                        <a:pt x="-24" y="774192"/>
                        <a:pt x="-24" y="667049"/>
                      </a:cubicBezTo>
                      <a:cubicBezTo>
                        <a:pt x="-58" y="615774"/>
                        <a:pt x="21011" y="566745"/>
                        <a:pt x="58235" y="531481"/>
                      </a:cubicBezTo>
                      <a:cubicBezTo>
                        <a:pt x="96289" y="495551"/>
                        <a:pt x="147028" y="476161"/>
                        <a:pt x="199346" y="477557"/>
                      </a:cubicBezTo>
                      <a:lnTo>
                        <a:pt x="245711" y="478464"/>
                      </a:lnTo>
                      <a:cubicBezTo>
                        <a:pt x="235824" y="444633"/>
                        <a:pt x="230701" y="409589"/>
                        <a:pt x="230491" y="374344"/>
                      </a:cubicBezTo>
                      <a:cubicBezTo>
                        <a:pt x="230399" y="273005"/>
                        <a:pt x="271987" y="176089"/>
                        <a:pt x="345497" y="106333"/>
                      </a:cubicBezTo>
                      <a:cubicBezTo>
                        <a:pt x="377948" y="75692"/>
                        <a:pt x="415460" y="50900"/>
                        <a:pt x="456370" y="33056"/>
                      </a:cubicBezTo>
                      <a:cubicBezTo>
                        <a:pt x="509047" y="10033"/>
                        <a:pt x="566114" y="-1215"/>
                        <a:pt x="623587" y="97"/>
                      </a:cubicBezTo>
                      <a:lnTo>
                        <a:pt x="739701" y="2516"/>
                      </a:lnTo>
                      <a:cubicBezTo>
                        <a:pt x="885862" y="5211"/>
                        <a:pt x="1019146" y="86715"/>
                        <a:pt x="1088145" y="215594"/>
                      </a:cubicBezTo>
                      <a:cubicBezTo>
                        <a:pt x="1121635" y="199754"/>
                        <a:pt x="1158351" y="191921"/>
                        <a:pt x="1195389" y="192714"/>
                      </a:cubicBezTo>
                      <a:lnTo>
                        <a:pt x="1225627" y="193318"/>
                      </a:lnTo>
                      <a:cubicBezTo>
                        <a:pt x="1356054" y="195939"/>
                        <a:pt x="1461888" y="301067"/>
                        <a:pt x="1461888" y="428067"/>
                      </a:cubicBezTo>
                      <a:lnTo>
                        <a:pt x="1461888" y="439356"/>
                      </a:lnTo>
                      <a:cubicBezTo>
                        <a:pt x="1461912" y="460762"/>
                        <a:pt x="1458787" y="482056"/>
                        <a:pt x="1452615" y="502553"/>
                      </a:cubicBezTo>
                      <a:lnTo>
                        <a:pt x="1565705" y="504972"/>
                      </a:lnTo>
                      <a:cubicBezTo>
                        <a:pt x="1675268" y="507089"/>
                        <a:pt x="1764571" y="595687"/>
                        <a:pt x="1764571" y="70283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076" cap="flat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2" name="Graphic 11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E6107F79-C5EC-4182-A16E-CE8E13410946}"/>
                    </a:ext>
                  </a:extLst>
                </p:cNvPr>
                <p:cNvSpPr/>
                <p:nvPr/>
              </p:nvSpPr>
              <p:spPr>
                <a:xfrm>
                  <a:off x="-687716" y="-681715"/>
                  <a:ext cx="1589818" cy="361292"/>
                </a:xfrm>
                <a:custGeom>
                  <a:avLst/>
                  <a:gdLst>
                    <a:gd name="connsiteX0" fmla="*/ 1589795 w 1589818"/>
                    <a:gd name="connsiteY0" fmla="*/ 360130 h 361292"/>
                    <a:gd name="connsiteX1" fmla="*/ 1565302 w 1589818"/>
                    <a:gd name="connsiteY1" fmla="*/ 361239 h 361292"/>
                    <a:gd name="connsiteX2" fmla="*/ 199044 w 1589818"/>
                    <a:gd name="connsiteY2" fmla="*/ 333419 h 361292"/>
                    <a:gd name="connsiteX3" fmla="*/ -24 w 1589818"/>
                    <a:gd name="connsiteY3" fmla="*/ 135561 h 361292"/>
                    <a:gd name="connsiteX4" fmla="*/ 58235 w 1589818"/>
                    <a:gd name="connsiteY4" fmla="*/ -6 h 361292"/>
                    <a:gd name="connsiteX5" fmla="*/ 356584 w 1589818"/>
                    <a:gd name="connsiteY5" fmla="*/ 289070 h 361292"/>
                    <a:gd name="connsiteX6" fmla="*/ 1244274 w 1589818"/>
                    <a:gd name="connsiteY6" fmla="*/ 289070 h 361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89818" h="361292">
                      <a:moveTo>
                        <a:pt x="1589795" y="360130"/>
                      </a:moveTo>
                      <a:cubicBezTo>
                        <a:pt x="1581665" y="361057"/>
                        <a:pt x="1573482" y="361427"/>
                        <a:pt x="1565302" y="361239"/>
                      </a:cubicBezTo>
                      <a:lnTo>
                        <a:pt x="199044" y="333419"/>
                      </a:lnTo>
                      <a:cubicBezTo>
                        <a:pt x="88977" y="331303"/>
                        <a:pt x="-24" y="242705"/>
                        <a:pt x="-24" y="135561"/>
                      </a:cubicBezTo>
                      <a:cubicBezTo>
                        <a:pt x="-58" y="84287"/>
                        <a:pt x="21011" y="35258"/>
                        <a:pt x="58235" y="-6"/>
                      </a:cubicBezTo>
                      <a:cubicBezTo>
                        <a:pt x="4512" y="337250"/>
                        <a:pt x="356584" y="289070"/>
                        <a:pt x="356584" y="289070"/>
                      </a:cubicBezTo>
                      <a:lnTo>
                        <a:pt x="1244274" y="289070"/>
                      </a:lnTo>
                      <a:close/>
                    </a:path>
                  </a:pathLst>
                </a:custGeom>
                <a:solidFill>
                  <a:srgbClr val="000000">
                    <a:alpha val="46000"/>
                  </a:srgbClr>
                </a:solidFill>
                <a:ln w="1007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3" name="Graphic 11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2A85B1AB-E4F0-4A38-A100-31AB4AA565EE}"/>
                    </a:ext>
                  </a:extLst>
                </p:cNvPr>
                <p:cNvSpPr/>
                <p:nvPr/>
              </p:nvSpPr>
              <p:spPr>
                <a:xfrm>
                  <a:off x="-335236" y="-749527"/>
                  <a:ext cx="746473" cy="746569"/>
                </a:xfrm>
                <a:custGeom>
                  <a:avLst/>
                  <a:gdLst>
                    <a:gd name="connsiteX0" fmla="*/ 583567 w 746473"/>
                    <a:gd name="connsiteY0" fmla="*/ 671157 h 746569"/>
                    <a:gd name="connsiteX1" fmla="*/ 549196 w 746473"/>
                    <a:gd name="connsiteY1" fmla="*/ 657549 h 746569"/>
                    <a:gd name="connsiteX2" fmla="*/ 529038 w 746473"/>
                    <a:gd name="connsiteY2" fmla="*/ 637391 h 746569"/>
                    <a:gd name="connsiteX3" fmla="*/ 479750 w 746473"/>
                    <a:gd name="connsiteY3" fmla="*/ 627815 h 746569"/>
                    <a:gd name="connsiteX4" fmla="*/ 451830 w 746473"/>
                    <a:gd name="connsiteY4" fmla="*/ 669645 h 746569"/>
                    <a:gd name="connsiteX5" fmla="*/ 451830 w 746473"/>
                    <a:gd name="connsiteY5" fmla="*/ 699883 h 746569"/>
                    <a:gd name="connsiteX6" fmla="*/ 403769 w 746473"/>
                    <a:gd name="connsiteY6" fmla="*/ 746558 h 746569"/>
                    <a:gd name="connsiteX7" fmla="*/ 403348 w 746473"/>
                    <a:gd name="connsiteY7" fmla="*/ 746550 h 746569"/>
                    <a:gd name="connsiteX8" fmla="*/ 346904 w 746473"/>
                    <a:gd name="connsiteY8" fmla="*/ 746550 h 746569"/>
                    <a:gd name="connsiteX9" fmla="*/ 297924 w 746473"/>
                    <a:gd name="connsiteY9" fmla="*/ 699185 h 746569"/>
                    <a:gd name="connsiteX10" fmla="*/ 297918 w 746473"/>
                    <a:gd name="connsiteY10" fmla="*/ 698068 h 746569"/>
                    <a:gd name="connsiteX11" fmla="*/ 297918 w 746473"/>
                    <a:gd name="connsiteY11" fmla="*/ 667830 h 746569"/>
                    <a:gd name="connsiteX12" fmla="*/ 251184 w 746473"/>
                    <a:gd name="connsiteY12" fmla="*/ 624311 h 746569"/>
                    <a:gd name="connsiteX13" fmla="*/ 221920 w 746473"/>
                    <a:gd name="connsiteY13" fmla="*/ 636483 h 746569"/>
                    <a:gd name="connsiteX14" fmla="*/ 201761 w 746473"/>
                    <a:gd name="connsiteY14" fmla="*/ 656642 h 746569"/>
                    <a:gd name="connsiteX15" fmla="*/ 132484 w 746473"/>
                    <a:gd name="connsiteY15" fmla="*/ 656720 h 746569"/>
                    <a:gd name="connsiteX16" fmla="*/ 131911 w 746473"/>
                    <a:gd name="connsiteY16" fmla="*/ 656138 h 746569"/>
                    <a:gd name="connsiteX17" fmla="*/ 90585 w 746473"/>
                    <a:gd name="connsiteY17" fmla="*/ 615014 h 746569"/>
                    <a:gd name="connsiteX18" fmla="*/ 88235 w 746473"/>
                    <a:gd name="connsiteY18" fmla="*/ 547917 h 746569"/>
                    <a:gd name="connsiteX19" fmla="*/ 90585 w 746473"/>
                    <a:gd name="connsiteY19" fmla="*/ 545568 h 746569"/>
                    <a:gd name="connsiteX20" fmla="*/ 109837 w 746473"/>
                    <a:gd name="connsiteY20" fmla="*/ 526316 h 746569"/>
                    <a:gd name="connsiteX21" fmla="*/ 119916 w 746473"/>
                    <a:gd name="connsiteY21" fmla="*/ 478842 h 746569"/>
                    <a:gd name="connsiteX22" fmla="*/ 79599 w 746473"/>
                    <a:gd name="connsiteY22" fmla="*/ 450116 h 746569"/>
                    <a:gd name="connsiteX23" fmla="*/ 49361 w 746473"/>
                    <a:gd name="connsiteY23" fmla="*/ 450116 h 746569"/>
                    <a:gd name="connsiteX24" fmla="*/ -6 w 746473"/>
                    <a:gd name="connsiteY24" fmla="*/ 403361 h 746569"/>
                    <a:gd name="connsiteX25" fmla="*/ 73 w 746473"/>
                    <a:gd name="connsiteY25" fmla="*/ 399014 h 746569"/>
                    <a:gd name="connsiteX26" fmla="*/ 73 w 746473"/>
                    <a:gd name="connsiteY26" fmla="*/ 345492 h 746569"/>
                    <a:gd name="connsiteX27" fmla="*/ 44724 w 746473"/>
                    <a:gd name="connsiteY27" fmla="*/ 297011 h 746569"/>
                    <a:gd name="connsiteX28" fmla="*/ 75769 w 746473"/>
                    <a:gd name="connsiteY28" fmla="*/ 297010 h 746569"/>
                    <a:gd name="connsiteX29" fmla="*/ 119412 w 746473"/>
                    <a:gd name="connsiteY29" fmla="*/ 268788 h 746569"/>
                    <a:gd name="connsiteX30" fmla="*/ 107619 w 746473"/>
                    <a:gd name="connsiteY30" fmla="*/ 218391 h 746569"/>
                    <a:gd name="connsiteX31" fmla="*/ 89174 w 746473"/>
                    <a:gd name="connsiteY31" fmla="*/ 199845 h 746569"/>
                    <a:gd name="connsiteX32" fmla="*/ 88975 w 746473"/>
                    <a:gd name="connsiteY32" fmla="*/ 133420 h 746569"/>
                    <a:gd name="connsiteX33" fmla="*/ 89174 w 746473"/>
                    <a:gd name="connsiteY33" fmla="*/ 133221 h 746569"/>
                    <a:gd name="connsiteX34" fmla="*/ 134330 w 746473"/>
                    <a:gd name="connsiteY34" fmla="*/ 88972 h 746569"/>
                    <a:gd name="connsiteX35" fmla="*/ 201257 w 746473"/>
                    <a:gd name="connsiteY35" fmla="*/ 89980 h 746569"/>
                    <a:gd name="connsiteX36" fmla="*/ 222020 w 746473"/>
                    <a:gd name="connsiteY36" fmla="*/ 110139 h 746569"/>
                    <a:gd name="connsiteX37" fmla="*/ 269696 w 746473"/>
                    <a:gd name="connsiteY37" fmla="*/ 119009 h 746569"/>
                    <a:gd name="connsiteX38" fmla="*/ 297918 w 746473"/>
                    <a:gd name="connsiteY38" fmla="*/ 78691 h 746569"/>
                    <a:gd name="connsiteX39" fmla="*/ 297918 w 746473"/>
                    <a:gd name="connsiteY39" fmla="*/ 50469 h 746569"/>
                    <a:gd name="connsiteX40" fmla="*/ 344571 w 746473"/>
                    <a:gd name="connsiteY40" fmla="*/ 31 h 746569"/>
                    <a:gd name="connsiteX41" fmla="*/ 349222 w 746473"/>
                    <a:gd name="connsiteY41" fmla="*/ 72 h 746569"/>
                    <a:gd name="connsiteX42" fmla="*/ 402139 w 746473"/>
                    <a:gd name="connsiteY42" fmla="*/ 72 h 746569"/>
                    <a:gd name="connsiteX43" fmla="*/ 452504 w 746473"/>
                    <a:gd name="connsiteY43" fmla="*/ 46804 h 746569"/>
                    <a:gd name="connsiteX44" fmla="*/ 452535 w 746473"/>
                    <a:gd name="connsiteY44" fmla="*/ 49159 h 746569"/>
                    <a:gd name="connsiteX45" fmla="*/ 452535 w 746473"/>
                    <a:gd name="connsiteY45" fmla="*/ 76373 h 746569"/>
                    <a:gd name="connsiteX46" fmla="*/ 497581 w 746473"/>
                    <a:gd name="connsiteY46" fmla="*/ 121839 h 746569"/>
                    <a:gd name="connsiteX47" fmla="*/ 530247 w 746473"/>
                    <a:gd name="connsiteY47" fmla="*/ 108123 h 746569"/>
                    <a:gd name="connsiteX48" fmla="*/ 548793 w 746473"/>
                    <a:gd name="connsiteY48" fmla="*/ 89577 h 746569"/>
                    <a:gd name="connsiteX49" fmla="*/ 617927 w 746473"/>
                    <a:gd name="connsiteY49" fmla="*/ 89566 h 746569"/>
                    <a:gd name="connsiteX50" fmla="*/ 617938 w 746473"/>
                    <a:gd name="connsiteY50" fmla="*/ 89577 h 746569"/>
                    <a:gd name="connsiteX51" fmla="*/ 660775 w 746473"/>
                    <a:gd name="connsiteY51" fmla="*/ 132011 h 746569"/>
                    <a:gd name="connsiteX52" fmla="*/ 661968 w 746473"/>
                    <a:gd name="connsiteY52" fmla="*/ 198854 h 746569"/>
                    <a:gd name="connsiteX53" fmla="*/ 660775 w 746473"/>
                    <a:gd name="connsiteY53" fmla="*/ 200047 h 746569"/>
                    <a:gd name="connsiteX54" fmla="*/ 640012 w 746473"/>
                    <a:gd name="connsiteY54" fmla="*/ 220206 h 746569"/>
                    <a:gd name="connsiteX55" fmla="*/ 629932 w 746473"/>
                    <a:gd name="connsiteY55" fmla="*/ 265160 h 746569"/>
                    <a:gd name="connsiteX56" fmla="*/ 666823 w 746473"/>
                    <a:gd name="connsiteY56" fmla="*/ 295398 h 746569"/>
                    <a:gd name="connsiteX57" fmla="*/ 698875 w 746473"/>
                    <a:gd name="connsiteY57" fmla="*/ 296003 h 746569"/>
                    <a:gd name="connsiteX58" fmla="*/ 745890 w 746473"/>
                    <a:gd name="connsiteY58" fmla="*/ 337299 h 746569"/>
                    <a:gd name="connsiteX59" fmla="*/ 745946 w 746473"/>
                    <a:gd name="connsiteY59" fmla="*/ 341964 h 746569"/>
                    <a:gd name="connsiteX60" fmla="*/ 745946 w 746473"/>
                    <a:gd name="connsiteY60" fmla="*/ 403247 h 746569"/>
                    <a:gd name="connsiteX61" fmla="*/ 702569 w 746473"/>
                    <a:gd name="connsiteY61" fmla="*/ 450114 h 746569"/>
                    <a:gd name="connsiteX62" fmla="*/ 697363 w 746473"/>
                    <a:gd name="connsiteY62" fmla="*/ 450015 h 746569"/>
                    <a:gd name="connsiteX63" fmla="*/ 669141 w 746473"/>
                    <a:gd name="connsiteY63" fmla="*/ 450015 h 746569"/>
                    <a:gd name="connsiteX64" fmla="*/ 630033 w 746473"/>
                    <a:gd name="connsiteY64" fmla="*/ 478741 h 746569"/>
                    <a:gd name="connsiteX65" fmla="*/ 639508 w 746473"/>
                    <a:gd name="connsiteY65" fmla="*/ 525409 h 746569"/>
                    <a:gd name="connsiteX66" fmla="*/ 659666 w 746473"/>
                    <a:gd name="connsiteY66" fmla="*/ 545568 h 746569"/>
                    <a:gd name="connsiteX67" fmla="*/ 660672 w 746473"/>
                    <a:gd name="connsiteY67" fmla="*/ 612698 h 746569"/>
                    <a:gd name="connsiteX68" fmla="*/ 659666 w 746473"/>
                    <a:gd name="connsiteY68" fmla="*/ 613704 h 746569"/>
                    <a:gd name="connsiteX69" fmla="*/ 617031 w 746473"/>
                    <a:gd name="connsiteY69" fmla="*/ 656340 h 746569"/>
                    <a:gd name="connsiteX70" fmla="*/ 583567 w 746473"/>
                    <a:gd name="connsiteY70" fmla="*/ 671157 h 746569"/>
                    <a:gd name="connsiteX71" fmla="*/ 219601 w 746473"/>
                    <a:gd name="connsiteY71" fmla="*/ 372807 h 746569"/>
                    <a:gd name="connsiteX72" fmla="*/ 374925 w 746473"/>
                    <a:gd name="connsiteY72" fmla="*/ 528734 h 746569"/>
                    <a:gd name="connsiteX73" fmla="*/ 530851 w 746473"/>
                    <a:gd name="connsiteY73" fmla="*/ 373410 h 746569"/>
                    <a:gd name="connsiteX74" fmla="*/ 375731 w 746473"/>
                    <a:gd name="connsiteY74" fmla="*/ 217484 h 746569"/>
                    <a:gd name="connsiteX75" fmla="*/ 219403 w 746473"/>
                    <a:gd name="connsiteY75" fmla="*/ 371796 h 746569"/>
                    <a:gd name="connsiteX76" fmla="*/ 219400 w 746473"/>
                    <a:gd name="connsiteY76" fmla="*/ 372807 h 746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</a:cxnLst>
                  <a:rect l="l" t="t" r="r" b="b"/>
                  <a:pathLst>
                    <a:path w="746473" h="746569">
                      <a:moveTo>
                        <a:pt x="583567" y="671157"/>
                      </a:moveTo>
                      <a:cubicBezTo>
                        <a:pt x="570742" y="671451"/>
                        <a:pt x="558344" y="666543"/>
                        <a:pt x="549196" y="657549"/>
                      </a:cubicBezTo>
                      <a:cubicBezTo>
                        <a:pt x="542443" y="651099"/>
                        <a:pt x="536093" y="644144"/>
                        <a:pt x="529038" y="637391"/>
                      </a:cubicBezTo>
                      <a:cubicBezTo>
                        <a:pt x="516381" y="623925"/>
                        <a:pt x="496528" y="620068"/>
                        <a:pt x="479750" y="627815"/>
                      </a:cubicBezTo>
                      <a:cubicBezTo>
                        <a:pt x="462538" y="634456"/>
                        <a:pt x="451360" y="651202"/>
                        <a:pt x="451830" y="669645"/>
                      </a:cubicBezTo>
                      <a:cubicBezTo>
                        <a:pt x="451830" y="679724"/>
                        <a:pt x="451830" y="689803"/>
                        <a:pt x="451830" y="699883"/>
                      </a:cubicBezTo>
                      <a:cubicBezTo>
                        <a:pt x="451447" y="726043"/>
                        <a:pt x="429930" y="746941"/>
                        <a:pt x="403769" y="746558"/>
                      </a:cubicBezTo>
                      <a:cubicBezTo>
                        <a:pt x="403629" y="746556"/>
                        <a:pt x="403488" y="746554"/>
                        <a:pt x="403348" y="746550"/>
                      </a:cubicBezTo>
                      <a:lnTo>
                        <a:pt x="346904" y="746550"/>
                      </a:lnTo>
                      <a:cubicBezTo>
                        <a:pt x="320299" y="746996"/>
                        <a:pt x="298370" y="725790"/>
                        <a:pt x="297924" y="699185"/>
                      </a:cubicBezTo>
                      <a:cubicBezTo>
                        <a:pt x="297917" y="698813"/>
                        <a:pt x="297916" y="698440"/>
                        <a:pt x="297918" y="698068"/>
                      </a:cubicBezTo>
                      <a:cubicBezTo>
                        <a:pt x="297918" y="687989"/>
                        <a:pt x="297918" y="677910"/>
                        <a:pt x="297918" y="667830"/>
                      </a:cubicBezTo>
                      <a:cubicBezTo>
                        <a:pt x="297030" y="642907"/>
                        <a:pt x="276107" y="623423"/>
                        <a:pt x="251184" y="624311"/>
                      </a:cubicBezTo>
                      <a:cubicBezTo>
                        <a:pt x="240279" y="624699"/>
                        <a:pt x="229883" y="629023"/>
                        <a:pt x="221920" y="636483"/>
                      </a:cubicBezTo>
                      <a:cubicBezTo>
                        <a:pt x="215066" y="642934"/>
                        <a:pt x="208715" y="649889"/>
                        <a:pt x="201761" y="656642"/>
                      </a:cubicBezTo>
                      <a:cubicBezTo>
                        <a:pt x="182652" y="675794"/>
                        <a:pt x="151636" y="675829"/>
                        <a:pt x="132484" y="656720"/>
                      </a:cubicBezTo>
                      <a:cubicBezTo>
                        <a:pt x="132292" y="656528"/>
                        <a:pt x="132100" y="656334"/>
                        <a:pt x="131911" y="656138"/>
                      </a:cubicBezTo>
                      <a:cubicBezTo>
                        <a:pt x="118102" y="642531"/>
                        <a:pt x="104192" y="628823"/>
                        <a:pt x="90585" y="615014"/>
                      </a:cubicBezTo>
                      <a:cubicBezTo>
                        <a:pt x="71408" y="597135"/>
                        <a:pt x="70356" y="567095"/>
                        <a:pt x="88235" y="547917"/>
                      </a:cubicBezTo>
                      <a:cubicBezTo>
                        <a:pt x="88991" y="547107"/>
                        <a:pt x="89775" y="546323"/>
                        <a:pt x="90585" y="545568"/>
                      </a:cubicBezTo>
                      <a:cubicBezTo>
                        <a:pt x="96935" y="539016"/>
                        <a:pt x="103588" y="532868"/>
                        <a:pt x="109837" y="526316"/>
                      </a:cubicBezTo>
                      <a:cubicBezTo>
                        <a:pt x="122916" y="514226"/>
                        <a:pt x="126955" y="495204"/>
                        <a:pt x="119916" y="478842"/>
                      </a:cubicBezTo>
                      <a:cubicBezTo>
                        <a:pt x="114033" y="461608"/>
                        <a:pt x="97810" y="450048"/>
                        <a:pt x="79599" y="450116"/>
                      </a:cubicBezTo>
                      <a:cubicBezTo>
                        <a:pt x="69519" y="450116"/>
                        <a:pt x="59440" y="450116"/>
                        <a:pt x="49361" y="450116"/>
                      </a:cubicBezTo>
                      <a:cubicBezTo>
                        <a:pt x="22817" y="450837"/>
                        <a:pt x="715" y="429904"/>
                        <a:pt x="-6" y="403361"/>
                      </a:cubicBezTo>
                      <a:cubicBezTo>
                        <a:pt x="-45" y="401911"/>
                        <a:pt x="-19" y="400461"/>
                        <a:pt x="73" y="399014"/>
                      </a:cubicBezTo>
                      <a:cubicBezTo>
                        <a:pt x="73" y="381173"/>
                        <a:pt x="73" y="363333"/>
                        <a:pt x="73" y="345492"/>
                      </a:cubicBezTo>
                      <a:cubicBezTo>
                        <a:pt x="-621" y="319909"/>
                        <a:pt x="19171" y="298420"/>
                        <a:pt x="44724" y="297011"/>
                      </a:cubicBezTo>
                      <a:cubicBezTo>
                        <a:pt x="54803" y="296103"/>
                        <a:pt x="65387" y="297010"/>
                        <a:pt x="75769" y="297010"/>
                      </a:cubicBezTo>
                      <a:cubicBezTo>
                        <a:pt x="94899" y="298070"/>
                        <a:pt x="112530" y="286670"/>
                        <a:pt x="119412" y="268788"/>
                      </a:cubicBezTo>
                      <a:cubicBezTo>
                        <a:pt x="127045" y="251229"/>
                        <a:pt x="122251" y="230741"/>
                        <a:pt x="107619" y="218391"/>
                      </a:cubicBezTo>
                      <a:cubicBezTo>
                        <a:pt x="101471" y="212243"/>
                        <a:pt x="95121" y="206195"/>
                        <a:pt x="89174" y="199845"/>
                      </a:cubicBezTo>
                      <a:cubicBezTo>
                        <a:pt x="70776" y="181558"/>
                        <a:pt x="70687" y="151818"/>
                        <a:pt x="88975" y="133420"/>
                      </a:cubicBezTo>
                      <a:cubicBezTo>
                        <a:pt x="89041" y="133354"/>
                        <a:pt x="89108" y="133287"/>
                        <a:pt x="89174" y="133221"/>
                      </a:cubicBezTo>
                      <a:cubicBezTo>
                        <a:pt x="103789" y="118102"/>
                        <a:pt x="118808" y="102983"/>
                        <a:pt x="134330" y="88972"/>
                      </a:cubicBezTo>
                      <a:cubicBezTo>
                        <a:pt x="153368" y="71487"/>
                        <a:pt x="182753" y="71929"/>
                        <a:pt x="201257" y="89980"/>
                      </a:cubicBezTo>
                      <a:cubicBezTo>
                        <a:pt x="208312" y="96734"/>
                        <a:pt x="214965" y="103890"/>
                        <a:pt x="222020" y="110139"/>
                      </a:cubicBezTo>
                      <a:cubicBezTo>
                        <a:pt x="234417" y="122917"/>
                        <a:pt x="253532" y="126474"/>
                        <a:pt x="269696" y="119009"/>
                      </a:cubicBezTo>
                      <a:cubicBezTo>
                        <a:pt x="286712" y="112929"/>
                        <a:pt x="298029" y="96761"/>
                        <a:pt x="297918" y="78691"/>
                      </a:cubicBezTo>
                      <a:cubicBezTo>
                        <a:pt x="297918" y="69318"/>
                        <a:pt x="297918" y="59843"/>
                        <a:pt x="297918" y="50469"/>
                      </a:cubicBezTo>
                      <a:cubicBezTo>
                        <a:pt x="296873" y="23658"/>
                        <a:pt x="317760" y="1076"/>
                        <a:pt x="344571" y="31"/>
                      </a:cubicBezTo>
                      <a:cubicBezTo>
                        <a:pt x="346121" y="-30"/>
                        <a:pt x="347673" y="-16"/>
                        <a:pt x="349222" y="72"/>
                      </a:cubicBezTo>
                      <a:lnTo>
                        <a:pt x="402139" y="72"/>
                      </a:lnTo>
                      <a:cubicBezTo>
                        <a:pt x="428951" y="-931"/>
                        <a:pt x="451501" y="19991"/>
                        <a:pt x="452504" y="46804"/>
                      </a:cubicBezTo>
                      <a:cubicBezTo>
                        <a:pt x="452534" y="47588"/>
                        <a:pt x="452544" y="48374"/>
                        <a:pt x="452535" y="49159"/>
                      </a:cubicBezTo>
                      <a:cubicBezTo>
                        <a:pt x="452535" y="58230"/>
                        <a:pt x="452535" y="67302"/>
                        <a:pt x="452535" y="76373"/>
                      </a:cubicBezTo>
                      <a:cubicBezTo>
                        <a:pt x="452419" y="101367"/>
                        <a:pt x="472587" y="121723"/>
                        <a:pt x="497581" y="121839"/>
                      </a:cubicBezTo>
                      <a:cubicBezTo>
                        <a:pt x="509881" y="121897"/>
                        <a:pt x="521675" y="116945"/>
                        <a:pt x="530247" y="108123"/>
                      </a:cubicBezTo>
                      <a:cubicBezTo>
                        <a:pt x="536497" y="101975"/>
                        <a:pt x="542544" y="95625"/>
                        <a:pt x="548793" y="89577"/>
                      </a:cubicBezTo>
                      <a:cubicBezTo>
                        <a:pt x="567881" y="70483"/>
                        <a:pt x="598833" y="70479"/>
                        <a:pt x="617927" y="89566"/>
                      </a:cubicBezTo>
                      <a:cubicBezTo>
                        <a:pt x="617931" y="89570"/>
                        <a:pt x="617934" y="89574"/>
                        <a:pt x="617938" y="89577"/>
                      </a:cubicBezTo>
                      <a:cubicBezTo>
                        <a:pt x="632452" y="103587"/>
                        <a:pt x="646664" y="117699"/>
                        <a:pt x="660775" y="132011"/>
                      </a:cubicBezTo>
                      <a:cubicBezTo>
                        <a:pt x="679563" y="150140"/>
                        <a:pt x="680097" y="180066"/>
                        <a:pt x="661968" y="198854"/>
                      </a:cubicBezTo>
                      <a:cubicBezTo>
                        <a:pt x="661578" y="199259"/>
                        <a:pt x="661180" y="199656"/>
                        <a:pt x="660775" y="200047"/>
                      </a:cubicBezTo>
                      <a:cubicBezTo>
                        <a:pt x="653921" y="207002"/>
                        <a:pt x="646765" y="213553"/>
                        <a:pt x="640012" y="220206"/>
                      </a:cubicBezTo>
                      <a:cubicBezTo>
                        <a:pt x="627811" y="231740"/>
                        <a:pt x="623824" y="249521"/>
                        <a:pt x="629932" y="265160"/>
                      </a:cubicBezTo>
                      <a:cubicBezTo>
                        <a:pt x="634714" y="281950"/>
                        <a:pt x="649421" y="294004"/>
                        <a:pt x="666823" y="295398"/>
                      </a:cubicBezTo>
                      <a:cubicBezTo>
                        <a:pt x="677406" y="296507"/>
                        <a:pt x="688191" y="295398"/>
                        <a:pt x="698875" y="296003"/>
                      </a:cubicBezTo>
                      <a:cubicBezTo>
                        <a:pt x="723262" y="294423"/>
                        <a:pt x="744311" y="312913"/>
                        <a:pt x="745890" y="337299"/>
                      </a:cubicBezTo>
                      <a:cubicBezTo>
                        <a:pt x="745991" y="338852"/>
                        <a:pt x="746009" y="340410"/>
                        <a:pt x="745946" y="341964"/>
                      </a:cubicBezTo>
                      <a:cubicBezTo>
                        <a:pt x="746618" y="362123"/>
                        <a:pt x="746618" y="382551"/>
                        <a:pt x="745946" y="403247"/>
                      </a:cubicBezTo>
                      <a:cubicBezTo>
                        <a:pt x="746910" y="428167"/>
                        <a:pt x="727490" y="449150"/>
                        <a:pt x="702569" y="450114"/>
                      </a:cubicBezTo>
                      <a:cubicBezTo>
                        <a:pt x="700833" y="450181"/>
                        <a:pt x="699095" y="450148"/>
                        <a:pt x="697363" y="450015"/>
                      </a:cubicBezTo>
                      <a:cubicBezTo>
                        <a:pt x="687989" y="450015"/>
                        <a:pt x="678515" y="450015"/>
                        <a:pt x="669141" y="450015"/>
                      </a:cubicBezTo>
                      <a:cubicBezTo>
                        <a:pt x="651376" y="450457"/>
                        <a:pt x="635768" y="461922"/>
                        <a:pt x="630033" y="478741"/>
                      </a:cubicBezTo>
                      <a:cubicBezTo>
                        <a:pt x="623010" y="494736"/>
                        <a:pt x="626804" y="513419"/>
                        <a:pt x="639508" y="525409"/>
                      </a:cubicBezTo>
                      <a:cubicBezTo>
                        <a:pt x="646261" y="532364"/>
                        <a:pt x="653417" y="538915"/>
                        <a:pt x="659666" y="545568"/>
                      </a:cubicBezTo>
                      <a:cubicBezTo>
                        <a:pt x="678482" y="563827"/>
                        <a:pt x="678932" y="593883"/>
                        <a:pt x="660672" y="612698"/>
                      </a:cubicBezTo>
                      <a:cubicBezTo>
                        <a:pt x="660342" y="613039"/>
                        <a:pt x="660007" y="613374"/>
                        <a:pt x="659666" y="613704"/>
                      </a:cubicBezTo>
                      <a:cubicBezTo>
                        <a:pt x="645656" y="628118"/>
                        <a:pt x="631343" y="642229"/>
                        <a:pt x="617031" y="656340"/>
                      </a:cubicBezTo>
                      <a:cubicBezTo>
                        <a:pt x="608259" y="665488"/>
                        <a:pt x="596236" y="670811"/>
                        <a:pt x="583567" y="671157"/>
                      </a:cubicBezTo>
                      <a:close/>
                      <a:moveTo>
                        <a:pt x="219601" y="372807"/>
                      </a:moveTo>
                      <a:cubicBezTo>
                        <a:pt x="219435" y="458757"/>
                        <a:pt x="288975" y="528567"/>
                        <a:pt x="374925" y="528734"/>
                      </a:cubicBezTo>
                      <a:cubicBezTo>
                        <a:pt x="460874" y="528901"/>
                        <a:pt x="530685" y="459360"/>
                        <a:pt x="530851" y="373410"/>
                      </a:cubicBezTo>
                      <a:cubicBezTo>
                        <a:pt x="531018" y="287540"/>
                        <a:pt x="461601" y="217763"/>
                        <a:pt x="375731" y="217484"/>
                      </a:cubicBezTo>
                      <a:cubicBezTo>
                        <a:pt x="289950" y="216928"/>
                        <a:pt x="219960" y="286015"/>
                        <a:pt x="219403" y="371796"/>
                      </a:cubicBezTo>
                      <a:cubicBezTo>
                        <a:pt x="219401" y="372133"/>
                        <a:pt x="219400" y="372470"/>
                        <a:pt x="219400" y="372807"/>
                      </a:cubicBezTo>
                      <a:close/>
                    </a:path>
                  </a:pathLst>
                </a:custGeom>
                <a:solidFill>
                  <a:schemeClr val="bg2">
                    <a:lumMod val="25000"/>
                  </a:schemeClr>
                </a:solidFill>
                <a:ln w="1007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" name="Graphic 11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B05CDC57-03FA-4373-8FD1-6F7AC9794029}"/>
                    </a:ext>
                  </a:extLst>
                </p:cNvPr>
                <p:cNvSpPr/>
                <p:nvPr/>
              </p:nvSpPr>
              <p:spPr>
                <a:xfrm>
                  <a:off x="374182" y="-473123"/>
                  <a:ext cx="504837" cy="504936"/>
                </a:xfrm>
                <a:custGeom>
                  <a:avLst/>
                  <a:gdLst>
                    <a:gd name="connsiteX0" fmla="*/ 394747 w 504837"/>
                    <a:gd name="connsiteY0" fmla="*/ 454020 h 504936"/>
                    <a:gd name="connsiteX1" fmla="*/ 371464 w 504837"/>
                    <a:gd name="connsiteY1" fmla="*/ 444847 h 504936"/>
                    <a:gd name="connsiteX2" fmla="*/ 357958 w 504837"/>
                    <a:gd name="connsiteY2" fmla="*/ 431442 h 504936"/>
                    <a:gd name="connsiteX3" fmla="*/ 324595 w 504837"/>
                    <a:gd name="connsiteY3" fmla="*/ 424991 h 504936"/>
                    <a:gd name="connsiteX4" fmla="*/ 305646 w 504837"/>
                    <a:gd name="connsiteY4" fmla="*/ 453213 h 504936"/>
                    <a:gd name="connsiteX5" fmla="*/ 305646 w 504837"/>
                    <a:gd name="connsiteY5" fmla="*/ 473372 h 504936"/>
                    <a:gd name="connsiteX6" fmla="*/ 273104 w 504837"/>
                    <a:gd name="connsiteY6" fmla="*/ 504927 h 504936"/>
                    <a:gd name="connsiteX7" fmla="*/ 272787 w 504837"/>
                    <a:gd name="connsiteY7" fmla="*/ 504920 h 504936"/>
                    <a:gd name="connsiteX8" fmla="*/ 234586 w 504837"/>
                    <a:gd name="connsiteY8" fmla="*/ 504920 h 504936"/>
                    <a:gd name="connsiteX9" fmla="*/ 201430 w 504837"/>
                    <a:gd name="connsiteY9" fmla="*/ 472975 h 504936"/>
                    <a:gd name="connsiteX10" fmla="*/ 201425 w 504837"/>
                    <a:gd name="connsiteY10" fmla="*/ 472162 h 504936"/>
                    <a:gd name="connsiteX11" fmla="*/ 201425 w 504837"/>
                    <a:gd name="connsiteY11" fmla="*/ 452004 h 504936"/>
                    <a:gd name="connsiteX12" fmla="*/ 182174 w 504837"/>
                    <a:gd name="connsiteY12" fmla="*/ 424689 h 504936"/>
                    <a:gd name="connsiteX13" fmla="*/ 150020 w 504837"/>
                    <a:gd name="connsiteY13" fmla="*/ 430736 h 504936"/>
                    <a:gd name="connsiteX14" fmla="*/ 136413 w 504837"/>
                    <a:gd name="connsiteY14" fmla="*/ 444243 h 504936"/>
                    <a:gd name="connsiteX15" fmla="*/ 89518 w 504837"/>
                    <a:gd name="connsiteY15" fmla="*/ 444619 h 504936"/>
                    <a:gd name="connsiteX16" fmla="*/ 89141 w 504837"/>
                    <a:gd name="connsiteY16" fmla="*/ 444243 h 504936"/>
                    <a:gd name="connsiteX17" fmla="*/ 61121 w 504837"/>
                    <a:gd name="connsiteY17" fmla="*/ 416424 h 504936"/>
                    <a:gd name="connsiteX18" fmla="*/ 59640 w 504837"/>
                    <a:gd name="connsiteY18" fmla="*/ 370834 h 504936"/>
                    <a:gd name="connsiteX19" fmla="*/ 61121 w 504837"/>
                    <a:gd name="connsiteY19" fmla="*/ 369353 h 504936"/>
                    <a:gd name="connsiteX20" fmla="*/ 74224 w 504837"/>
                    <a:gd name="connsiteY20" fmla="*/ 356351 h 504936"/>
                    <a:gd name="connsiteX21" fmla="*/ 80775 w 504837"/>
                    <a:gd name="connsiteY21" fmla="*/ 324298 h 504936"/>
                    <a:gd name="connsiteX22" fmla="*/ 53561 w 504837"/>
                    <a:gd name="connsiteY22" fmla="*/ 304845 h 504936"/>
                    <a:gd name="connsiteX23" fmla="*/ 33402 w 504837"/>
                    <a:gd name="connsiteY23" fmla="*/ 304845 h 504936"/>
                    <a:gd name="connsiteX24" fmla="*/ -12 w 504837"/>
                    <a:gd name="connsiteY24" fmla="*/ 273170 h 504936"/>
                    <a:gd name="connsiteX25" fmla="*/ 39 w 504837"/>
                    <a:gd name="connsiteY25" fmla="*/ 270273 h 504936"/>
                    <a:gd name="connsiteX26" fmla="*/ 40 w 504837"/>
                    <a:gd name="connsiteY26" fmla="*/ 233987 h 504936"/>
                    <a:gd name="connsiteX27" fmla="*/ 30278 w 504837"/>
                    <a:gd name="connsiteY27" fmla="*/ 201128 h 504936"/>
                    <a:gd name="connsiteX28" fmla="*/ 51344 w 504837"/>
                    <a:gd name="connsiteY28" fmla="*/ 201128 h 504936"/>
                    <a:gd name="connsiteX29" fmla="*/ 80876 w 504837"/>
                    <a:gd name="connsiteY29" fmla="*/ 182078 h 504936"/>
                    <a:gd name="connsiteX30" fmla="*/ 72913 w 504837"/>
                    <a:gd name="connsiteY30" fmla="*/ 147909 h 504936"/>
                    <a:gd name="connsiteX31" fmla="*/ 60314 w 504837"/>
                    <a:gd name="connsiteY31" fmla="*/ 135310 h 504936"/>
                    <a:gd name="connsiteX32" fmla="*/ 60303 w 504837"/>
                    <a:gd name="connsiteY32" fmla="*/ 90266 h 504936"/>
                    <a:gd name="connsiteX33" fmla="*/ 60314 w 504837"/>
                    <a:gd name="connsiteY33" fmla="*/ 90255 h 504936"/>
                    <a:gd name="connsiteX34" fmla="*/ 90552 w 504837"/>
                    <a:gd name="connsiteY34" fmla="*/ 60017 h 504936"/>
                    <a:gd name="connsiteX35" fmla="*/ 135909 w 504837"/>
                    <a:gd name="connsiteY35" fmla="*/ 60723 h 504936"/>
                    <a:gd name="connsiteX36" fmla="*/ 149920 w 504837"/>
                    <a:gd name="connsiteY36" fmla="*/ 74531 h 504936"/>
                    <a:gd name="connsiteX37" fmla="*/ 182174 w 504837"/>
                    <a:gd name="connsiteY37" fmla="*/ 80478 h 504936"/>
                    <a:gd name="connsiteX38" fmla="*/ 201224 w 504837"/>
                    <a:gd name="connsiteY38" fmla="*/ 53062 h 504936"/>
                    <a:gd name="connsiteX39" fmla="*/ 201224 w 504837"/>
                    <a:gd name="connsiteY39" fmla="*/ 34012 h 504936"/>
                    <a:gd name="connsiteX40" fmla="*/ 233107 w 504837"/>
                    <a:gd name="connsiteY40" fmla="*/ 11 h 504936"/>
                    <a:gd name="connsiteX41" fmla="*/ 235997 w 504837"/>
                    <a:gd name="connsiteY41" fmla="*/ 45 h 504936"/>
                    <a:gd name="connsiteX42" fmla="*/ 271477 w 504837"/>
                    <a:gd name="connsiteY42" fmla="*/ 45 h 504936"/>
                    <a:gd name="connsiteX43" fmla="*/ 305718 w 504837"/>
                    <a:gd name="connsiteY43" fmla="*/ 31461 h 504936"/>
                    <a:gd name="connsiteX44" fmla="*/ 305747 w 504837"/>
                    <a:gd name="connsiteY44" fmla="*/ 33206 h 504936"/>
                    <a:gd name="connsiteX45" fmla="*/ 305747 w 504837"/>
                    <a:gd name="connsiteY45" fmla="*/ 51651 h 504936"/>
                    <a:gd name="connsiteX46" fmla="*/ 334364 w 504837"/>
                    <a:gd name="connsiteY46" fmla="*/ 83427 h 504936"/>
                    <a:gd name="connsiteX47" fmla="*/ 358361 w 504837"/>
                    <a:gd name="connsiteY47" fmla="*/ 73524 h 504936"/>
                    <a:gd name="connsiteX48" fmla="*/ 370960 w 504837"/>
                    <a:gd name="connsiteY48" fmla="*/ 61025 h 504936"/>
                    <a:gd name="connsiteX49" fmla="*/ 417572 w 504837"/>
                    <a:gd name="connsiteY49" fmla="*/ 60868 h 504936"/>
                    <a:gd name="connsiteX50" fmla="*/ 417728 w 504837"/>
                    <a:gd name="connsiteY50" fmla="*/ 61025 h 504936"/>
                    <a:gd name="connsiteX51" fmla="*/ 446656 w 504837"/>
                    <a:gd name="connsiteY51" fmla="*/ 89751 h 504936"/>
                    <a:gd name="connsiteX52" fmla="*/ 447541 w 504837"/>
                    <a:gd name="connsiteY52" fmla="*/ 134929 h 504936"/>
                    <a:gd name="connsiteX53" fmla="*/ 446656 w 504837"/>
                    <a:gd name="connsiteY53" fmla="*/ 135814 h 504936"/>
                    <a:gd name="connsiteX54" fmla="*/ 432646 w 504837"/>
                    <a:gd name="connsiteY54" fmla="*/ 149623 h 504936"/>
                    <a:gd name="connsiteX55" fmla="*/ 425893 w 504837"/>
                    <a:gd name="connsiteY55" fmla="*/ 179861 h 504936"/>
                    <a:gd name="connsiteX56" fmla="*/ 450890 w 504837"/>
                    <a:gd name="connsiteY56" fmla="*/ 200020 h 504936"/>
                    <a:gd name="connsiteX57" fmla="*/ 472560 w 504837"/>
                    <a:gd name="connsiteY57" fmla="*/ 200020 h 504936"/>
                    <a:gd name="connsiteX58" fmla="*/ 504477 w 504837"/>
                    <a:gd name="connsiteY58" fmla="*/ 228480 h 504936"/>
                    <a:gd name="connsiteX59" fmla="*/ 504512 w 504837"/>
                    <a:gd name="connsiteY59" fmla="*/ 231165 h 504936"/>
                    <a:gd name="connsiteX60" fmla="*/ 504512 w 504837"/>
                    <a:gd name="connsiteY60" fmla="*/ 272591 h 504936"/>
                    <a:gd name="connsiteX61" fmla="*/ 475850 w 504837"/>
                    <a:gd name="connsiteY61" fmla="*/ 304327 h 504936"/>
                    <a:gd name="connsiteX62" fmla="*/ 471552 w 504837"/>
                    <a:gd name="connsiteY62" fmla="*/ 304240 h 504936"/>
                    <a:gd name="connsiteX63" fmla="*/ 452502 w 504837"/>
                    <a:gd name="connsiteY63" fmla="*/ 304240 h 504936"/>
                    <a:gd name="connsiteX64" fmla="*/ 425994 w 504837"/>
                    <a:gd name="connsiteY64" fmla="*/ 323693 h 504936"/>
                    <a:gd name="connsiteX65" fmla="*/ 432444 w 504837"/>
                    <a:gd name="connsiteY65" fmla="*/ 355242 h 504936"/>
                    <a:gd name="connsiteX66" fmla="*/ 446455 w 504837"/>
                    <a:gd name="connsiteY66" fmla="*/ 369151 h 504936"/>
                    <a:gd name="connsiteX67" fmla="*/ 447050 w 504837"/>
                    <a:gd name="connsiteY67" fmla="*/ 414619 h 504936"/>
                    <a:gd name="connsiteX68" fmla="*/ 446455 w 504837"/>
                    <a:gd name="connsiteY68" fmla="*/ 415214 h 504936"/>
                    <a:gd name="connsiteX69" fmla="*/ 417527 w 504837"/>
                    <a:gd name="connsiteY69" fmla="*/ 444041 h 504936"/>
                    <a:gd name="connsiteX70" fmla="*/ 394747 w 504837"/>
                    <a:gd name="connsiteY70" fmla="*/ 454020 h 504936"/>
                    <a:gd name="connsiteX71" fmla="*/ 148408 w 504837"/>
                    <a:gd name="connsiteY71" fmla="*/ 252432 h 504936"/>
                    <a:gd name="connsiteX72" fmla="*/ 253536 w 504837"/>
                    <a:gd name="connsiteY72" fmla="*/ 357963 h 504936"/>
                    <a:gd name="connsiteX73" fmla="*/ 359066 w 504837"/>
                    <a:gd name="connsiteY73" fmla="*/ 252835 h 504936"/>
                    <a:gd name="connsiteX74" fmla="*/ 254040 w 504837"/>
                    <a:gd name="connsiteY74" fmla="*/ 147305 h 504936"/>
                    <a:gd name="connsiteX75" fmla="*/ 148409 w 504837"/>
                    <a:gd name="connsiteY75" fmla="*/ 251927 h 504936"/>
                    <a:gd name="connsiteX76" fmla="*/ 148408 w 504837"/>
                    <a:gd name="connsiteY76" fmla="*/ 252130 h 504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</a:cxnLst>
                  <a:rect l="l" t="t" r="r" b="b"/>
                  <a:pathLst>
                    <a:path w="504837" h="504936">
                      <a:moveTo>
                        <a:pt x="394747" y="454020"/>
                      </a:moveTo>
                      <a:cubicBezTo>
                        <a:pt x="386062" y="454255"/>
                        <a:pt x="377655" y="450943"/>
                        <a:pt x="371464" y="444847"/>
                      </a:cubicBezTo>
                      <a:cubicBezTo>
                        <a:pt x="366929" y="440412"/>
                        <a:pt x="362594" y="435776"/>
                        <a:pt x="357958" y="431442"/>
                      </a:cubicBezTo>
                      <a:cubicBezTo>
                        <a:pt x="349437" y="422239"/>
                        <a:pt x="335932" y="419628"/>
                        <a:pt x="324595" y="424991"/>
                      </a:cubicBezTo>
                      <a:cubicBezTo>
                        <a:pt x="312974" y="429480"/>
                        <a:pt x="305402" y="440758"/>
                        <a:pt x="305646" y="453213"/>
                      </a:cubicBezTo>
                      <a:cubicBezTo>
                        <a:pt x="305646" y="460067"/>
                        <a:pt x="305646" y="466820"/>
                        <a:pt x="305646" y="473372"/>
                      </a:cubicBezTo>
                      <a:cubicBezTo>
                        <a:pt x="305373" y="491072"/>
                        <a:pt x="290803" y="505199"/>
                        <a:pt x="273104" y="504927"/>
                      </a:cubicBezTo>
                      <a:cubicBezTo>
                        <a:pt x="272998" y="504925"/>
                        <a:pt x="272893" y="504923"/>
                        <a:pt x="272787" y="504920"/>
                      </a:cubicBezTo>
                      <a:cubicBezTo>
                        <a:pt x="260087" y="504920"/>
                        <a:pt x="247387" y="504920"/>
                        <a:pt x="234586" y="504920"/>
                      </a:cubicBezTo>
                      <a:cubicBezTo>
                        <a:pt x="216609" y="505255"/>
                        <a:pt x="201765" y="490952"/>
                        <a:pt x="201430" y="472975"/>
                      </a:cubicBezTo>
                      <a:cubicBezTo>
                        <a:pt x="201425" y="472704"/>
                        <a:pt x="201423" y="472433"/>
                        <a:pt x="201425" y="472162"/>
                      </a:cubicBezTo>
                      <a:cubicBezTo>
                        <a:pt x="201425" y="465409"/>
                        <a:pt x="201425" y="458555"/>
                        <a:pt x="201425" y="452004"/>
                      </a:cubicBezTo>
                      <a:cubicBezTo>
                        <a:pt x="201478" y="439728"/>
                        <a:pt x="193752" y="428766"/>
                        <a:pt x="182174" y="424689"/>
                      </a:cubicBezTo>
                      <a:cubicBezTo>
                        <a:pt x="171261" y="419653"/>
                        <a:pt x="158357" y="422080"/>
                        <a:pt x="150020" y="430736"/>
                      </a:cubicBezTo>
                      <a:cubicBezTo>
                        <a:pt x="145384" y="435070"/>
                        <a:pt x="141050" y="439808"/>
                        <a:pt x="136413" y="444243"/>
                      </a:cubicBezTo>
                      <a:cubicBezTo>
                        <a:pt x="123568" y="457296"/>
                        <a:pt x="102572" y="457465"/>
                        <a:pt x="89518" y="444619"/>
                      </a:cubicBezTo>
                      <a:cubicBezTo>
                        <a:pt x="89391" y="444495"/>
                        <a:pt x="89266" y="444369"/>
                        <a:pt x="89141" y="444243"/>
                      </a:cubicBezTo>
                      <a:cubicBezTo>
                        <a:pt x="79767" y="435070"/>
                        <a:pt x="70394" y="425797"/>
                        <a:pt x="61121" y="416424"/>
                      </a:cubicBezTo>
                      <a:cubicBezTo>
                        <a:pt x="48122" y="404243"/>
                        <a:pt x="47459" y="383832"/>
                        <a:pt x="59640" y="370834"/>
                      </a:cubicBezTo>
                      <a:cubicBezTo>
                        <a:pt x="60117" y="370324"/>
                        <a:pt x="60611" y="369830"/>
                        <a:pt x="61121" y="369353"/>
                      </a:cubicBezTo>
                      <a:cubicBezTo>
                        <a:pt x="65455" y="365019"/>
                        <a:pt x="69990" y="360886"/>
                        <a:pt x="74224" y="356351"/>
                      </a:cubicBezTo>
                      <a:cubicBezTo>
                        <a:pt x="83009" y="348151"/>
                        <a:pt x="85638" y="335288"/>
                        <a:pt x="80775" y="324298"/>
                      </a:cubicBezTo>
                      <a:cubicBezTo>
                        <a:pt x="76804" y="312656"/>
                        <a:pt x="65862" y="304834"/>
                        <a:pt x="53561" y="304845"/>
                      </a:cubicBezTo>
                      <a:cubicBezTo>
                        <a:pt x="46808" y="304845"/>
                        <a:pt x="39954" y="304845"/>
                        <a:pt x="33402" y="304845"/>
                      </a:cubicBezTo>
                      <a:cubicBezTo>
                        <a:pt x="15428" y="305325"/>
                        <a:pt x="468" y="291144"/>
                        <a:pt x="-12" y="273170"/>
                      </a:cubicBezTo>
                      <a:cubicBezTo>
                        <a:pt x="-38" y="272204"/>
                        <a:pt x="-21" y="271237"/>
                        <a:pt x="39" y="270273"/>
                      </a:cubicBezTo>
                      <a:cubicBezTo>
                        <a:pt x="40" y="258178"/>
                        <a:pt x="40" y="246082"/>
                        <a:pt x="40" y="233987"/>
                      </a:cubicBezTo>
                      <a:cubicBezTo>
                        <a:pt x="-424" y="216660"/>
                        <a:pt x="12972" y="202103"/>
                        <a:pt x="30278" y="201128"/>
                      </a:cubicBezTo>
                      <a:cubicBezTo>
                        <a:pt x="37232" y="201128"/>
                        <a:pt x="44288" y="201128"/>
                        <a:pt x="51344" y="201128"/>
                      </a:cubicBezTo>
                      <a:cubicBezTo>
                        <a:pt x="64246" y="201738"/>
                        <a:pt x="76111" y="194084"/>
                        <a:pt x="80876" y="182078"/>
                      </a:cubicBezTo>
                      <a:cubicBezTo>
                        <a:pt x="86077" y="170182"/>
                        <a:pt x="82838" y="156281"/>
                        <a:pt x="72913" y="147909"/>
                      </a:cubicBezTo>
                      <a:cubicBezTo>
                        <a:pt x="68680" y="143676"/>
                        <a:pt x="64447" y="139644"/>
                        <a:pt x="60314" y="135310"/>
                      </a:cubicBezTo>
                      <a:cubicBezTo>
                        <a:pt x="47873" y="122875"/>
                        <a:pt x="47868" y="102708"/>
                        <a:pt x="60303" y="90266"/>
                      </a:cubicBezTo>
                      <a:cubicBezTo>
                        <a:pt x="60307" y="90263"/>
                        <a:pt x="60310" y="90259"/>
                        <a:pt x="60314" y="90255"/>
                      </a:cubicBezTo>
                      <a:cubicBezTo>
                        <a:pt x="70192" y="79974"/>
                        <a:pt x="80271" y="69895"/>
                        <a:pt x="90552" y="60017"/>
                      </a:cubicBezTo>
                      <a:cubicBezTo>
                        <a:pt x="103435" y="48105"/>
                        <a:pt x="123404" y="48415"/>
                        <a:pt x="135909" y="60723"/>
                      </a:cubicBezTo>
                      <a:cubicBezTo>
                        <a:pt x="140647" y="65258"/>
                        <a:pt x="145082" y="70097"/>
                        <a:pt x="149920" y="74531"/>
                      </a:cubicBezTo>
                      <a:cubicBezTo>
                        <a:pt x="158298" y="83199"/>
                        <a:pt x="171256" y="85588"/>
                        <a:pt x="182174" y="80478"/>
                      </a:cubicBezTo>
                      <a:cubicBezTo>
                        <a:pt x="193747" y="76372"/>
                        <a:pt x="201412" y="65341"/>
                        <a:pt x="201224" y="53062"/>
                      </a:cubicBezTo>
                      <a:cubicBezTo>
                        <a:pt x="201224" y="46712"/>
                        <a:pt x="201224" y="40362"/>
                        <a:pt x="201224" y="34012"/>
                      </a:cubicBezTo>
                      <a:cubicBezTo>
                        <a:pt x="200639" y="15819"/>
                        <a:pt x="214914" y="596"/>
                        <a:pt x="233107" y="11"/>
                      </a:cubicBezTo>
                      <a:cubicBezTo>
                        <a:pt x="234071" y="-20"/>
                        <a:pt x="235035" y="-9"/>
                        <a:pt x="235997" y="45"/>
                      </a:cubicBezTo>
                      <a:lnTo>
                        <a:pt x="271477" y="45"/>
                      </a:lnTo>
                      <a:cubicBezTo>
                        <a:pt x="289608" y="-735"/>
                        <a:pt x="304938" y="13330"/>
                        <a:pt x="305718" y="31461"/>
                      </a:cubicBezTo>
                      <a:cubicBezTo>
                        <a:pt x="305743" y="32042"/>
                        <a:pt x="305753" y="32624"/>
                        <a:pt x="305747" y="33206"/>
                      </a:cubicBezTo>
                      <a:cubicBezTo>
                        <a:pt x="305747" y="39354"/>
                        <a:pt x="305747" y="45503"/>
                        <a:pt x="305747" y="51651"/>
                      </a:cubicBezTo>
                      <a:cubicBezTo>
                        <a:pt x="304874" y="68329"/>
                        <a:pt x="317687" y="82555"/>
                        <a:pt x="334364" y="83427"/>
                      </a:cubicBezTo>
                      <a:cubicBezTo>
                        <a:pt x="343445" y="83903"/>
                        <a:pt x="352258" y="80265"/>
                        <a:pt x="358361" y="73524"/>
                      </a:cubicBezTo>
                      <a:lnTo>
                        <a:pt x="370960" y="61025"/>
                      </a:lnTo>
                      <a:cubicBezTo>
                        <a:pt x="383788" y="48110"/>
                        <a:pt x="404657" y="48040"/>
                        <a:pt x="417572" y="60868"/>
                      </a:cubicBezTo>
                      <a:cubicBezTo>
                        <a:pt x="417624" y="60920"/>
                        <a:pt x="417676" y="60973"/>
                        <a:pt x="417728" y="61025"/>
                      </a:cubicBezTo>
                      <a:cubicBezTo>
                        <a:pt x="427808" y="70500"/>
                        <a:pt x="437181" y="80075"/>
                        <a:pt x="446656" y="89751"/>
                      </a:cubicBezTo>
                      <a:cubicBezTo>
                        <a:pt x="459376" y="101982"/>
                        <a:pt x="459772" y="122209"/>
                        <a:pt x="447541" y="134929"/>
                      </a:cubicBezTo>
                      <a:cubicBezTo>
                        <a:pt x="447252" y="135230"/>
                        <a:pt x="446957" y="135525"/>
                        <a:pt x="446656" y="135814"/>
                      </a:cubicBezTo>
                      <a:cubicBezTo>
                        <a:pt x="442121" y="140451"/>
                        <a:pt x="437181" y="144885"/>
                        <a:pt x="432646" y="149623"/>
                      </a:cubicBezTo>
                      <a:cubicBezTo>
                        <a:pt x="424520" y="157428"/>
                        <a:pt x="421860" y="169340"/>
                        <a:pt x="425893" y="179861"/>
                      </a:cubicBezTo>
                      <a:cubicBezTo>
                        <a:pt x="429292" y="191078"/>
                        <a:pt x="439207" y="199074"/>
                        <a:pt x="450890" y="200020"/>
                      </a:cubicBezTo>
                      <a:cubicBezTo>
                        <a:pt x="458046" y="200826"/>
                        <a:pt x="465404" y="200020"/>
                        <a:pt x="472560" y="200020"/>
                      </a:cubicBezTo>
                      <a:cubicBezTo>
                        <a:pt x="489233" y="199065"/>
                        <a:pt x="503523" y="211807"/>
                        <a:pt x="504477" y="228480"/>
                      </a:cubicBezTo>
                      <a:cubicBezTo>
                        <a:pt x="504529" y="229374"/>
                        <a:pt x="504540" y="230270"/>
                        <a:pt x="504512" y="231165"/>
                      </a:cubicBezTo>
                      <a:cubicBezTo>
                        <a:pt x="504915" y="245007"/>
                        <a:pt x="504915" y="258816"/>
                        <a:pt x="504512" y="272591"/>
                      </a:cubicBezTo>
                      <a:cubicBezTo>
                        <a:pt x="505361" y="289270"/>
                        <a:pt x="492529" y="303478"/>
                        <a:pt x="475850" y="304327"/>
                      </a:cubicBezTo>
                      <a:cubicBezTo>
                        <a:pt x="474417" y="304400"/>
                        <a:pt x="472981" y="304371"/>
                        <a:pt x="471552" y="304240"/>
                      </a:cubicBezTo>
                      <a:cubicBezTo>
                        <a:pt x="465202" y="304240"/>
                        <a:pt x="458852" y="304240"/>
                        <a:pt x="452502" y="304240"/>
                      </a:cubicBezTo>
                      <a:cubicBezTo>
                        <a:pt x="440452" y="304497"/>
                        <a:pt x="429853" y="312275"/>
                        <a:pt x="425994" y="323693"/>
                      </a:cubicBezTo>
                      <a:cubicBezTo>
                        <a:pt x="421252" y="334515"/>
                        <a:pt x="423835" y="347150"/>
                        <a:pt x="432444" y="355242"/>
                      </a:cubicBezTo>
                      <a:cubicBezTo>
                        <a:pt x="436980" y="359979"/>
                        <a:pt x="441818" y="364414"/>
                        <a:pt x="446455" y="369151"/>
                      </a:cubicBezTo>
                      <a:cubicBezTo>
                        <a:pt x="459174" y="381543"/>
                        <a:pt x="459441" y="401899"/>
                        <a:pt x="447050" y="414619"/>
                      </a:cubicBezTo>
                      <a:cubicBezTo>
                        <a:pt x="446854" y="414820"/>
                        <a:pt x="446656" y="415018"/>
                        <a:pt x="446455" y="415214"/>
                      </a:cubicBezTo>
                      <a:cubicBezTo>
                        <a:pt x="436980" y="425293"/>
                        <a:pt x="427203" y="434466"/>
                        <a:pt x="417527" y="444041"/>
                      </a:cubicBezTo>
                      <a:cubicBezTo>
                        <a:pt x="411573" y="450278"/>
                        <a:pt x="403369" y="453872"/>
                        <a:pt x="394747" y="454020"/>
                      </a:cubicBezTo>
                      <a:close/>
                      <a:moveTo>
                        <a:pt x="148408" y="252432"/>
                      </a:moveTo>
                      <a:cubicBezTo>
                        <a:pt x="148297" y="310604"/>
                        <a:pt x="195364" y="357852"/>
                        <a:pt x="253536" y="357963"/>
                      </a:cubicBezTo>
                      <a:cubicBezTo>
                        <a:pt x="311708" y="358074"/>
                        <a:pt x="358955" y="311006"/>
                        <a:pt x="359066" y="252835"/>
                      </a:cubicBezTo>
                      <a:cubicBezTo>
                        <a:pt x="359177" y="194703"/>
                        <a:pt x="312172" y="147472"/>
                        <a:pt x="254040" y="147305"/>
                      </a:cubicBezTo>
                      <a:cubicBezTo>
                        <a:pt x="195980" y="147026"/>
                        <a:pt x="148687" y="193867"/>
                        <a:pt x="148409" y="251927"/>
                      </a:cubicBezTo>
                      <a:cubicBezTo>
                        <a:pt x="148409" y="251994"/>
                        <a:pt x="148408" y="252062"/>
                        <a:pt x="148408" y="252130"/>
                      </a:cubicBezTo>
                      <a:close/>
                    </a:path>
                  </a:pathLst>
                </a:custGeom>
                <a:solidFill>
                  <a:schemeClr val="bg2">
                    <a:lumMod val="25000"/>
                  </a:schemeClr>
                </a:solidFill>
                <a:ln w="1007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" name="Graphic 11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77C15B75-A5C8-4359-AF13-20F1D39F4770}"/>
                    </a:ext>
                  </a:extLst>
                </p:cNvPr>
                <p:cNvSpPr/>
                <p:nvPr/>
              </p:nvSpPr>
              <p:spPr>
                <a:xfrm>
                  <a:off x="-237370" y="-986717"/>
                  <a:ext cx="235353" cy="236764"/>
                </a:xfrm>
                <a:custGeom>
                  <a:avLst/>
                  <a:gdLst>
                    <a:gd name="connsiteX0" fmla="*/ 235353 w 235353"/>
                    <a:gd name="connsiteY0" fmla="*/ 236764 h 236764"/>
                    <a:gd name="connsiteX1" fmla="*/ 223460 w 235353"/>
                    <a:gd name="connsiteY1" fmla="*/ 236764 h 236764"/>
                    <a:gd name="connsiteX2" fmla="*/ 223460 w 235353"/>
                    <a:gd name="connsiteY2" fmla="*/ 11994 h 236764"/>
                    <a:gd name="connsiteX3" fmla="*/ 0 w 235353"/>
                    <a:gd name="connsiteY3" fmla="*/ 11994 h 236764"/>
                    <a:gd name="connsiteX4" fmla="*/ 0 w 235353"/>
                    <a:gd name="connsiteY4" fmla="*/ 0 h 236764"/>
                    <a:gd name="connsiteX5" fmla="*/ 235353 w 235353"/>
                    <a:gd name="connsiteY5" fmla="*/ 0 h 236764"/>
                    <a:gd name="connsiteX6" fmla="*/ 235353 w 235353"/>
                    <a:gd name="connsiteY6" fmla="*/ 236764 h 236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5353" h="236764">
                      <a:moveTo>
                        <a:pt x="235353" y="236764"/>
                      </a:moveTo>
                      <a:lnTo>
                        <a:pt x="223460" y="236764"/>
                      </a:lnTo>
                      <a:lnTo>
                        <a:pt x="223460" y="11994"/>
                      </a:lnTo>
                      <a:lnTo>
                        <a:pt x="0" y="11994"/>
                      </a:lnTo>
                      <a:lnTo>
                        <a:pt x="0" y="0"/>
                      </a:lnTo>
                      <a:lnTo>
                        <a:pt x="235353" y="0"/>
                      </a:lnTo>
                      <a:lnTo>
                        <a:pt x="235353" y="236764"/>
                      </a:lnTo>
                      <a:close/>
                    </a:path>
                  </a:pathLst>
                </a:custGeom>
                <a:solidFill>
                  <a:srgbClr val="0B274F"/>
                </a:solidFill>
                <a:ln w="1007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" name="Graphic 11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A07702A4-A654-49EE-9F85-E43ABA82D50B}"/>
                    </a:ext>
                  </a:extLst>
                </p:cNvPr>
                <p:cNvSpPr/>
                <p:nvPr/>
              </p:nvSpPr>
              <p:spPr>
                <a:xfrm>
                  <a:off x="77710" y="-878767"/>
                  <a:ext cx="410734" cy="128814"/>
                </a:xfrm>
                <a:custGeom>
                  <a:avLst/>
                  <a:gdLst>
                    <a:gd name="connsiteX0" fmla="*/ 11994 w 410734"/>
                    <a:gd name="connsiteY0" fmla="*/ 128814 h 128814"/>
                    <a:gd name="connsiteX1" fmla="*/ 0 w 410734"/>
                    <a:gd name="connsiteY1" fmla="*/ 128814 h 128814"/>
                    <a:gd name="connsiteX2" fmla="*/ 0 w 410734"/>
                    <a:gd name="connsiteY2" fmla="*/ 0 h 128814"/>
                    <a:gd name="connsiteX3" fmla="*/ 410734 w 410734"/>
                    <a:gd name="connsiteY3" fmla="*/ 0 h 128814"/>
                    <a:gd name="connsiteX4" fmla="*/ 410734 w 410734"/>
                    <a:gd name="connsiteY4" fmla="*/ 11994 h 128814"/>
                    <a:gd name="connsiteX5" fmla="*/ 11994 w 410734"/>
                    <a:gd name="connsiteY5" fmla="*/ 11994 h 128814"/>
                    <a:gd name="connsiteX6" fmla="*/ 11994 w 410734"/>
                    <a:gd name="connsiteY6" fmla="*/ 128814 h 128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0734" h="128814">
                      <a:moveTo>
                        <a:pt x="11994" y="128814"/>
                      </a:moveTo>
                      <a:lnTo>
                        <a:pt x="0" y="128814"/>
                      </a:lnTo>
                      <a:lnTo>
                        <a:pt x="0" y="0"/>
                      </a:lnTo>
                      <a:lnTo>
                        <a:pt x="410734" y="0"/>
                      </a:lnTo>
                      <a:lnTo>
                        <a:pt x="410734" y="11994"/>
                      </a:lnTo>
                      <a:lnTo>
                        <a:pt x="11994" y="11994"/>
                      </a:lnTo>
                      <a:lnTo>
                        <a:pt x="11994" y="128814"/>
                      </a:lnTo>
                      <a:close/>
                    </a:path>
                  </a:pathLst>
                </a:custGeom>
                <a:solidFill>
                  <a:srgbClr val="0B274F"/>
                </a:solidFill>
                <a:ln w="1007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" name="Graphic 11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0AA81BCF-462E-478D-99B9-508494B0FE63}"/>
                    </a:ext>
                  </a:extLst>
                </p:cNvPr>
                <p:cNvSpPr/>
                <p:nvPr/>
              </p:nvSpPr>
              <p:spPr>
                <a:xfrm>
                  <a:off x="411337" y="-656114"/>
                  <a:ext cx="205215" cy="182537"/>
                </a:xfrm>
                <a:custGeom>
                  <a:avLst/>
                  <a:gdLst>
                    <a:gd name="connsiteX0" fmla="*/ 205216 w 205215"/>
                    <a:gd name="connsiteY0" fmla="*/ 182537 h 182537"/>
                    <a:gd name="connsiteX1" fmla="*/ 193221 w 205215"/>
                    <a:gd name="connsiteY1" fmla="*/ 182537 h 182537"/>
                    <a:gd name="connsiteX2" fmla="*/ 193221 w 205215"/>
                    <a:gd name="connsiteY2" fmla="*/ 11894 h 182537"/>
                    <a:gd name="connsiteX3" fmla="*/ 0 w 205215"/>
                    <a:gd name="connsiteY3" fmla="*/ 11894 h 182537"/>
                    <a:gd name="connsiteX4" fmla="*/ 0 w 205215"/>
                    <a:gd name="connsiteY4" fmla="*/ 0 h 182537"/>
                    <a:gd name="connsiteX5" fmla="*/ 205216 w 205215"/>
                    <a:gd name="connsiteY5" fmla="*/ 0 h 182537"/>
                    <a:gd name="connsiteX6" fmla="*/ 205216 w 205215"/>
                    <a:gd name="connsiteY6" fmla="*/ 182537 h 1825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5215" h="182537">
                      <a:moveTo>
                        <a:pt x="205216" y="182537"/>
                      </a:moveTo>
                      <a:lnTo>
                        <a:pt x="193221" y="182537"/>
                      </a:lnTo>
                      <a:lnTo>
                        <a:pt x="193221" y="11894"/>
                      </a:lnTo>
                      <a:lnTo>
                        <a:pt x="0" y="11894"/>
                      </a:lnTo>
                      <a:lnTo>
                        <a:pt x="0" y="0"/>
                      </a:lnTo>
                      <a:lnTo>
                        <a:pt x="205216" y="0"/>
                      </a:lnTo>
                      <a:lnTo>
                        <a:pt x="205216" y="182537"/>
                      </a:lnTo>
                      <a:close/>
                    </a:path>
                  </a:pathLst>
                </a:custGeom>
                <a:solidFill>
                  <a:srgbClr val="0B274F"/>
                </a:solidFill>
                <a:ln w="1007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" name="Graphic 11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BFC3ED02-9B28-41D3-B30C-6E12EB4E1628}"/>
                    </a:ext>
                  </a:extLst>
                </p:cNvPr>
                <p:cNvSpPr/>
                <p:nvPr/>
              </p:nvSpPr>
              <p:spPr>
                <a:xfrm>
                  <a:off x="482901" y="-902453"/>
                  <a:ext cx="60476" cy="60476"/>
                </a:xfrm>
                <a:custGeom>
                  <a:avLst/>
                  <a:gdLst>
                    <a:gd name="connsiteX0" fmla="*/ 30214 w 60476"/>
                    <a:gd name="connsiteY0" fmla="*/ 60470 h 60476"/>
                    <a:gd name="connsiteX1" fmla="*/ -24 w 60476"/>
                    <a:gd name="connsiteY1" fmla="*/ 30232 h 60476"/>
                    <a:gd name="connsiteX2" fmla="*/ 30214 w 60476"/>
                    <a:gd name="connsiteY2" fmla="*/ -6 h 60476"/>
                    <a:gd name="connsiteX3" fmla="*/ 60452 w 60476"/>
                    <a:gd name="connsiteY3" fmla="*/ 30232 h 60476"/>
                    <a:gd name="connsiteX4" fmla="*/ 30214 w 60476"/>
                    <a:gd name="connsiteY4" fmla="*/ 60470 h 60476"/>
                    <a:gd name="connsiteX5" fmla="*/ 30214 w 60476"/>
                    <a:gd name="connsiteY5" fmla="*/ 10981 h 60476"/>
                    <a:gd name="connsiteX6" fmla="*/ 11467 w 60476"/>
                    <a:gd name="connsiteY6" fmla="*/ 29728 h 60476"/>
                    <a:gd name="connsiteX7" fmla="*/ 30214 w 60476"/>
                    <a:gd name="connsiteY7" fmla="*/ 48476 h 60476"/>
                    <a:gd name="connsiteX8" fmla="*/ 48962 w 60476"/>
                    <a:gd name="connsiteY8" fmla="*/ 29728 h 60476"/>
                    <a:gd name="connsiteX9" fmla="*/ 30214 w 60476"/>
                    <a:gd name="connsiteY9" fmla="*/ 10981 h 60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0476" h="60476">
                      <a:moveTo>
                        <a:pt x="30214" y="60470"/>
                      </a:moveTo>
                      <a:cubicBezTo>
                        <a:pt x="13514" y="60470"/>
                        <a:pt x="-24" y="46932"/>
                        <a:pt x="-24" y="30232"/>
                      </a:cubicBezTo>
                      <a:cubicBezTo>
                        <a:pt x="-24" y="13532"/>
                        <a:pt x="13514" y="-6"/>
                        <a:pt x="30214" y="-6"/>
                      </a:cubicBezTo>
                      <a:cubicBezTo>
                        <a:pt x="46914" y="-6"/>
                        <a:pt x="60452" y="13532"/>
                        <a:pt x="60452" y="30232"/>
                      </a:cubicBezTo>
                      <a:cubicBezTo>
                        <a:pt x="60131" y="46797"/>
                        <a:pt x="46779" y="60148"/>
                        <a:pt x="30214" y="60470"/>
                      </a:cubicBezTo>
                      <a:close/>
                      <a:moveTo>
                        <a:pt x="30214" y="10981"/>
                      </a:moveTo>
                      <a:cubicBezTo>
                        <a:pt x="19860" y="10981"/>
                        <a:pt x="11467" y="19374"/>
                        <a:pt x="11467" y="29728"/>
                      </a:cubicBezTo>
                      <a:cubicBezTo>
                        <a:pt x="11467" y="40082"/>
                        <a:pt x="19860" y="48476"/>
                        <a:pt x="30214" y="48476"/>
                      </a:cubicBezTo>
                      <a:cubicBezTo>
                        <a:pt x="40568" y="48476"/>
                        <a:pt x="48962" y="40082"/>
                        <a:pt x="48962" y="29728"/>
                      </a:cubicBezTo>
                      <a:cubicBezTo>
                        <a:pt x="48962" y="19374"/>
                        <a:pt x="40568" y="10981"/>
                        <a:pt x="30214" y="10981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1007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9" name="Graphic 11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808EBAFD-DD8D-4DEB-96AE-3AA25CD98D61}"/>
                    </a:ext>
                  </a:extLst>
                </p:cNvPr>
                <p:cNvSpPr/>
                <p:nvPr/>
              </p:nvSpPr>
              <p:spPr>
                <a:xfrm>
                  <a:off x="-292302" y="-1010403"/>
                  <a:ext cx="60476" cy="60476"/>
                </a:xfrm>
                <a:custGeom>
                  <a:avLst/>
                  <a:gdLst>
                    <a:gd name="connsiteX0" fmla="*/ 30214 w 60476"/>
                    <a:gd name="connsiteY0" fmla="*/ 60470 h 60476"/>
                    <a:gd name="connsiteX1" fmla="*/ -24 w 60476"/>
                    <a:gd name="connsiteY1" fmla="*/ 30232 h 60476"/>
                    <a:gd name="connsiteX2" fmla="*/ 30214 w 60476"/>
                    <a:gd name="connsiteY2" fmla="*/ -6 h 60476"/>
                    <a:gd name="connsiteX3" fmla="*/ 60452 w 60476"/>
                    <a:gd name="connsiteY3" fmla="*/ 30232 h 60476"/>
                    <a:gd name="connsiteX4" fmla="*/ 30214 w 60476"/>
                    <a:gd name="connsiteY4" fmla="*/ 60470 h 60476"/>
                    <a:gd name="connsiteX5" fmla="*/ 30214 w 60476"/>
                    <a:gd name="connsiteY5" fmla="*/ 10981 h 60476"/>
                    <a:gd name="connsiteX6" fmla="*/ 11467 w 60476"/>
                    <a:gd name="connsiteY6" fmla="*/ 29728 h 60476"/>
                    <a:gd name="connsiteX7" fmla="*/ 30214 w 60476"/>
                    <a:gd name="connsiteY7" fmla="*/ 48476 h 60476"/>
                    <a:gd name="connsiteX8" fmla="*/ 48962 w 60476"/>
                    <a:gd name="connsiteY8" fmla="*/ 29728 h 60476"/>
                    <a:gd name="connsiteX9" fmla="*/ 30214 w 60476"/>
                    <a:gd name="connsiteY9" fmla="*/ 10981 h 60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0476" h="60476">
                      <a:moveTo>
                        <a:pt x="30214" y="60470"/>
                      </a:moveTo>
                      <a:cubicBezTo>
                        <a:pt x="13514" y="60470"/>
                        <a:pt x="-24" y="46932"/>
                        <a:pt x="-24" y="30232"/>
                      </a:cubicBezTo>
                      <a:cubicBezTo>
                        <a:pt x="-24" y="13532"/>
                        <a:pt x="13514" y="-6"/>
                        <a:pt x="30214" y="-6"/>
                      </a:cubicBezTo>
                      <a:cubicBezTo>
                        <a:pt x="46914" y="-6"/>
                        <a:pt x="60452" y="13532"/>
                        <a:pt x="60452" y="30232"/>
                      </a:cubicBezTo>
                      <a:cubicBezTo>
                        <a:pt x="60131" y="46797"/>
                        <a:pt x="46779" y="60148"/>
                        <a:pt x="30214" y="60470"/>
                      </a:cubicBezTo>
                      <a:close/>
                      <a:moveTo>
                        <a:pt x="30214" y="10981"/>
                      </a:moveTo>
                      <a:cubicBezTo>
                        <a:pt x="19860" y="10981"/>
                        <a:pt x="11467" y="19374"/>
                        <a:pt x="11467" y="29728"/>
                      </a:cubicBezTo>
                      <a:cubicBezTo>
                        <a:pt x="11467" y="40082"/>
                        <a:pt x="19860" y="48476"/>
                        <a:pt x="30214" y="48476"/>
                      </a:cubicBezTo>
                      <a:cubicBezTo>
                        <a:pt x="40568" y="48476"/>
                        <a:pt x="48962" y="40082"/>
                        <a:pt x="48962" y="29728"/>
                      </a:cubicBezTo>
                      <a:cubicBezTo>
                        <a:pt x="48962" y="19374"/>
                        <a:pt x="40568" y="10981"/>
                        <a:pt x="30214" y="10981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1007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0" name="Graphic 11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691E516D-9AA6-45DE-9363-3795DF27D643}"/>
                    </a:ext>
                  </a:extLst>
                </p:cNvPr>
                <p:cNvSpPr/>
                <p:nvPr/>
              </p:nvSpPr>
              <p:spPr>
                <a:xfrm>
                  <a:off x="360138" y="-679901"/>
                  <a:ext cx="60471" cy="60476"/>
                </a:xfrm>
                <a:custGeom>
                  <a:avLst/>
                  <a:gdLst>
                    <a:gd name="connsiteX0" fmla="*/ 30210 w 60471"/>
                    <a:gd name="connsiteY0" fmla="*/ 60470 h 60476"/>
                    <a:gd name="connsiteX1" fmla="*/ -24 w 60471"/>
                    <a:gd name="connsiteY1" fmla="*/ 30228 h 60476"/>
                    <a:gd name="connsiteX2" fmla="*/ 30219 w 60471"/>
                    <a:gd name="connsiteY2" fmla="*/ -6 h 60476"/>
                    <a:gd name="connsiteX3" fmla="*/ 60448 w 60471"/>
                    <a:gd name="connsiteY3" fmla="*/ 29728 h 60476"/>
                    <a:gd name="connsiteX4" fmla="*/ 30210 w 60471"/>
                    <a:gd name="connsiteY4" fmla="*/ 60470 h 60476"/>
                    <a:gd name="connsiteX5" fmla="*/ 30210 w 60471"/>
                    <a:gd name="connsiteY5" fmla="*/ 10980 h 60476"/>
                    <a:gd name="connsiteX6" fmla="*/ 11973 w 60471"/>
                    <a:gd name="connsiteY6" fmla="*/ 30225 h 60476"/>
                    <a:gd name="connsiteX7" fmla="*/ 31218 w 60471"/>
                    <a:gd name="connsiteY7" fmla="*/ 48462 h 60476"/>
                    <a:gd name="connsiteX8" fmla="*/ 49462 w 60471"/>
                    <a:gd name="connsiteY8" fmla="*/ 29728 h 60476"/>
                    <a:gd name="connsiteX9" fmla="*/ 30517 w 60471"/>
                    <a:gd name="connsiteY9" fmla="*/ 10976 h 60476"/>
                    <a:gd name="connsiteX10" fmla="*/ 30210 w 60471"/>
                    <a:gd name="connsiteY10" fmla="*/ 10980 h 60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0471" h="60476">
                      <a:moveTo>
                        <a:pt x="30210" y="60470"/>
                      </a:moveTo>
                      <a:cubicBezTo>
                        <a:pt x="13510" y="60468"/>
                        <a:pt x="-26" y="46928"/>
                        <a:pt x="-24" y="30228"/>
                      </a:cubicBezTo>
                      <a:cubicBezTo>
                        <a:pt x="-21" y="13528"/>
                        <a:pt x="13519" y="-8"/>
                        <a:pt x="30219" y="-6"/>
                      </a:cubicBezTo>
                      <a:cubicBezTo>
                        <a:pt x="46720" y="-4"/>
                        <a:pt x="60173" y="13228"/>
                        <a:pt x="60448" y="29728"/>
                      </a:cubicBezTo>
                      <a:cubicBezTo>
                        <a:pt x="60397" y="46489"/>
                        <a:pt x="46968" y="60142"/>
                        <a:pt x="30210" y="60470"/>
                      </a:cubicBezTo>
                      <a:close/>
                      <a:moveTo>
                        <a:pt x="30210" y="10980"/>
                      </a:moveTo>
                      <a:cubicBezTo>
                        <a:pt x="19860" y="11259"/>
                        <a:pt x="11695" y="19875"/>
                        <a:pt x="11973" y="30225"/>
                      </a:cubicBezTo>
                      <a:cubicBezTo>
                        <a:pt x="12252" y="40576"/>
                        <a:pt x="20868" y="48740"/>
                        <a:pt x="31218" y="48462"/>
                      </a:cubicBezTo>
                      <a:cubicBezTo>
                        <a:pt x="41370" y="48189"/>
                        <a:pt x="49458" y="39883"/>
                        <a:pt x="49462" y="29728"/>
                      </a:cubicBezTo>
                      <a:cubicBezTo>
                        <a:pt x="49409" y="19318"/>
                        <a:pt x="40927" y="10923"/>
                        <a:pt x="30517" y="10976"/>
                      </a:cubicBezTo>
                      <a:cubicBezTo>
                        <a:pt x="30415" y="10977"/>
                        <a:pt x="30313" y="10978"/>
                        <a:pt x="30210" y="10980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1007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1" name="Graphic 11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B9C99BE4-3CAC-44C3-9284-43FABB0786FF}"/>
                    </a:ext>
                  </a:extLst>
                </p:cNvPr>
                <p:cNvSpPr/>
                <p:nvPr/>
              </p:nvSpPr>
              <p:spPr>
                <a:xfrm>
                  <a:off x="-457201" y="-1180140"/>
                  <a:ext cx="225878" cy="482801"/>
                </a:xfrm>
                <a:custGeom>
                  <a:avLst/>
                  <a:gdLst>
                    <a:gd name="connsiteX0" fmla="*/ 114075 w 225878"/>
                    <a:gd name="connsiteY0" fmla="*/ 482796 h 482801"/>
                    <a:gd name="connsiteX1" fmla="*/ 14894 w 225878"/>
                    <a:gd name="connsiteY1" fmla="*/ 444998 h 482801"/>
                    <a:gd name="connsiteX2" fmla="*/ -24 w 225878"/>
                    <a:gd name="connsiteY2" fmla="*/ 341281 h 482801"/>
                    <a:gd name="connsiteX3" fmla="*/ 114982 w 225878"/>
                    <a:gd name="connsiteY3" fmla="*/ 73271 h 482801"/>
                    <a:gd name="connsiteX4" fmla="*/ 225855 w 225878"/>
                    <a:gd name="connsiteY4" fmla="*/ -6 h 482801"/>
                    <a:gd name="connsiteX5" fmla="*/ 114075 w 225878"/>
                    <a:gd name="connsiteY5" fmla="*/ 482796 h 4828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5878" h="482801">
                      <a:moveTo>
                        <a:pt x="114075" y="482796"/>
                      </a:moveTo>
                      <a:lnTo>
                        <a:pt x="14894" y="444998"/>
                      </a:lnTo>
                      <a:cubicBezTo>
                        <a:pt x="5145" y="411283"/>
                        <a:pt x="125" y="376377"/>
                        <a:pt x="-24" y="341281"/>
                      </a:cubicBezTo>
                      <a:cubicBezTo>
                        <a:pt x="-116" y="239943"/>
                        <a:pt x="41472" y="143026"/>
                        <a:pt x="114982" y="73271"/>
                      </a:cubicBezTo>
                      <a:cubicBezTo>
                        <a:pt x="147433" y="42629"/>
                        <a:pt x="184945" y="17837"/>
                        <a:pt x="225855" y="-6"/>
                      </a:cubicBezTo>
                      <a:cubicBezTo>
                        <a:pt x="-48707" y="235549"/>
                        <a:pt x="114075" y="482796"/>
                        <a:pt x="114075" y="482796"/>
                      </a:cubicBezTo>
                      <a:close/>
                    </a:path>
                  </a:pathLst>
                </a:custGeom>
                <a:solidFill>
                  <a:srgbClr val="000000">
                    <a:alpha val="36000"/>
                  </a:srgbClr>
                </a:solidFill>
                <a:ln w="1007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0EDC06F8-7F74-4345-AF2B-CB0168C954B8}"/>
                  </a:ext>
                </a:extLst>
              </p:cNvPr>
              <p:cNvSpPr txBox="1"/>
              <p:nvPr/>
            </p:nvSpPr>
            <p:spPr>
              <a:xfrm>
                <a:off x="6888946" y="4256481"/>
                <a:ext cx="139975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Cloud Services</a:t>
                </a: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2E7ABAA8-89FD-4DC0-9A5F-5EC046785DA2}"/>
                  </a:ext>
                </a:extLst>
              </p:cNvPr>
              <p:cNvSpPr/>
              <p:nvPr/>
            </p:nvSpPr>
            <p:spPr>
              <a:xfrm>
                <a:off x="5180803" y="2256816"/>
                <a:ext cx="104315" cy="15138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20110178-CBD3-4BDC-B618-1CFCFC42D5A4}"/>
                </a:ext>
              </a:extLst>
            </p:cNvPr>
            <p:cNvGrpSpPr/>
            <p:nvPr/>
          </p:nvGrpSpPr>
          <p:grpSpPr>
            <a:xfrm>
              <a:off x="4402846" y="2204768"/>
              <a:ext cx="1630754" cy="2504906"/>
              <a:chOff x="4402846" y="2204768"/>
              <a:chExt cx="1630754" cy="2504906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2ADF9B2B-30DA-42B9-9E4A-A25E89726204}"/>
                  </a:ext>
                </a:extLst>
              </p:cNvPr>
              <p:cNvSpPr txBox="1"/>
              <p:nvPr/>
            </p:nvSpPr>
            <p:spPr>
              <a:xfrm>
                <a:off x="4402846" y="4432675"/>
                <a:ext cx="1103166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Pedestrian</a:t>
                </a: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E1C455D3-025F-4247-8FD4-76AF8FECB852}"/>
                  </a:ext>
                </a:extLst>
              </p:cNvPr>
              <p:cNvSpPr/>
              <p:nvPr/>
            </p:nvSpPr>
            <p:spPr>
              <a:xfrm>
                <a:off x="5939152" y="2204768"/>
                <a:ext cx="94448" cy="15624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6" name="Graphic 5" descr="Document with solid fill">
            <a:extLst>
              <a:ext uri="{FF2B5EF4-FFF2-40B4-BE49-F238E27FC236}">
                <a16:creationId xmlns:a16="http://schemas.microsoft.com/office/drawing/2014/main" id="{0C68A1F2-F2A1-40E4-85D8-C27C1D6899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89406" y="4431071"/>
            <a:ext cx="914400" cy="864100"/>
          </a:xfrm>
          <a:prstGeom prst="rect">
            <a:avLst/>
          </a:prstGeom>
        </p:spPr>
      </p:pic>
      <p:pic>
        <p:nvPicPr>
          <p:cNvPr id="202" name="Graphic 201" descr="Document with solid fill">
            <a:extLst>
              <a:ext uri="{FF2B5EF4-FFF2-40B4-BE49-F238E27FC236}">
                <a16:creationId xmlns:a16="http://schemas.microsoft.com/office/drawing/2014/main" id="{2916B6CE-D3EC-4CF6-9D42-90BCC7DBC7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88144" y="446628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3696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thical dilemma</a:t>
            </a:r>
          </a:p>
        </p:txBody>
      </p:sp>
      <p:sp>
        <p:nvSpPr>
          <p:cNvPr id="38" name="Date Placeholder 37">
            <a:extLst>
              <a:ext uri="{FF2B5EF4-FFF2-40B4-BE49-F238E27FC236}">
                <a16:creationId xmlns:a16="http://schemas.microsoft.com/office/drawing/2014/main" id="{214893A6-5453-4772-A5C3-6E8247B9F7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589F1-DBF5-4773-A8FB-3E064B868076}" type="datetime1">
              <a:rPr lang="en-US" smtClean="0"/>
              <a:t>3/22/2022</a:t>
            </a:fld>
            <a:endParaRPr lang="en-US"/>
          </a:p>
        </p:txBody>
      </p:sp>
      <p:sp>
        <p:nvSpPr>
          <p:cNvPr id="40" name="Slide Number Placeholder 39">
            <a:extLst>
              <a:ext uri="{FF2B5EF4-FFF2-40B4-BE49-F238E27FC236}">
                <a16:creationId xmlns:a16="http://schemas.microsoft.com/office/drawing/2014/main" id="{3FDADECE-BF65-44C8-B523-E1DC603B0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8F610-7B7C-44F0-8FE6-F62371B7351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4637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0F516D-3F56-4C87-9DF3-EEF1F37B29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o you think Humans should control  vehicles?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413063-742C-4CB7-9E5E-8F61DB772A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E60D43-205C-49E2-BFE6-AFEE81AD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A5652-EC40-4471-9F09-BF266E7781BF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50623E-6754-4E2C-BC03-482D56752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9093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0F516D-3F56-4C87-9DF3-EEF1F37B29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ho is responsible for accidents in self driving cars?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413063-742C-4CB7-9E5E-8F61DB772A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E60D43-205C-49E2-BFE6-AFEE81AD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A5652-EC40-4471-9F09-BF266E7781BF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50623E-6754-4E2C-BC03-482D56752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429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0F516D-3F56-4C87-9DF3-EEF1F37B29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s there a trade off between safety and speed?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413063-742C-4CB7-9E5E-8F61DB772A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E60D43-205C-49E2-BFE6-AFEE81AD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A5652-EC40-4471-9F09-BF266E7781BF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50623E-6754-4E2C-BC03-482D56752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0952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0F516D-3F56-4C87-9DF3-EEF1F37B29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hat infrastructure changes are necessary to accomodate connected vehicles?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413063-742C-4CB7-9E5E-8F61DB772A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E60D43-205C-49E2-BFE6-AFEE81AD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A5652-EC40-4471-9F09-BF266E7781BF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50623E-6754-4E2C-BC03-482D56752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63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picture containing bicycle, wall, floor, indoor&#10;&#10;Description automatically generated">
            <a:extLst>
              <a:ext uri="{FF2B5EF4-FFF2-40B4-BE49-F238E27FC236}">
                <a16:creationId xmlns:a16="http://schemas.microsoft.com/office/drawing/2014/main" id="{89026033-C1B9-4DD2-9A5A-90A3368C722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78" b="8265"/>
          <a:stretch/>
        </p:blipFill>
        <p:spPr>
          <a:xfrm>
            <a:off x="23684" y="10"/>
            <a:ext cx="12191980" cy="685799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20142"/>
            <a:ext cx="12192000" cy="736551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622F09-9206-4657-8207-CF25989FE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75" y="5317240"/>
            <a:ext cx="11210925" cy="744836"/>
          </a:xfrm>
        </p:spPr>
        <p:txBody>
          <a:bodyPr>
            <a:normAutofit/>
          </a:bodyPr>
          <a:lstStyle/>
          <a:p>
            <a:pPr algn="ctr"/>
            <a:r>
              <a:rPr lang="en-GB" b="0" dirty="0"/>
              <a:t>Carl Benz Patents World’s First Automobile 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5241983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34852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C99F9F-B3B0-46C4-A0CC-5E89C9305A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D4ED4BC6-4D0D-4C38-8E61-3B7265C53276}" type="datetime1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3/22/202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822DBB-7C97-48F0-8159-977EA847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D325CB3F-26C9-44D7-A7CB-40F86C5CE4B1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F24DFAB-AA2C-4352-BFFB-CCE1DE7FF6B7}"/>
              </a:ext>
            </a:extLst>
          </p:cNvPr>
          <p:cNvSpPr txBox="1">
            <a:spLocks/>
          </p:cNvSpPr>
          <p:nvPr/>
        </p:nvSpPr>
        <p:spPr>
          <a:xfrm>
            <a:off x="1635566" y="5880905"/>
            <a:ext cx="8786621" cy="64782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5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3D62CA-5D98-41B9-8F07-2CBD49607F6F}"/>
              </a:ext>
            </a:extLst>
          </p:cNvPr>
          <p:cNvSpPr txBox="1"/>
          <p:nvPr/>
        </p:nvSpPr>
        <p:spPr>
          <a:xfrm>
            <a:off x="3359696" y="6365417"/>
            <a:ext cx="60022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www.history.com/news/car-history-timeline</a:t>
            </a:r>
          </a:p>
        </p:txBody>
      </p:sp>
    </p:spTree>
    <p:extLst>
      <p:ext uri="{BB962C8B-B14F-4D97-AF65-F5344CB8AC3E}">
        <p14:creationId xmlns:p14="http://schemas.microsoft.com/office/powerpoint/2010/main" val="1015928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22F09-9206-4657-8207-CF25989FE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nected Vehicle Ecosystem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C99F9F-B3B0-46C4-A0CC-5E89C9305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D4BC6-4D0D-4C38-8E61-3B7265C53276}" type="datetime1">
              <a:rPr lang="en-US" smtClean="0"/>
              <a:t>3/22/20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822DBB-7C97-48F0-8159-977EA847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20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B13FD4-DB3C-4E19-8868-F374298264C8}"/>
              </a:ext>
            </a:extLst>
          </p:cNvPr>
          <p:cNvGrpSpPr/>
          <p:nvPr/>
        </p:nvGrpSpPr>
        <p:grpSpPr>
          <a:xfrm>
            <a:off x="1271464" y="1467098"/>
            <a:ext cx="9937104" cy="4589261"/>
            <a:chOff x="41610" y="720106"/>
            <a:chExt cx="9102390" cy="3779487"/>
          </a:xfrm>
        </p:grpSpPr>
        <p:pic>
          <p:nvPicPr>
            <p:cNvPr id="6" name="Picture 5" descr="A picture containing text, projector&#10;&#10;Description automatically generated">
              <a:extLst>
                <a:ext uri="{FF2B5EF4-FFF2-40B4-BE49-F238E27FC236}">
                  <a16:creationId xmlns:a16="http://schemas.microsoft.com/office/drawing/2014/main" id="{35867B8F-CB17-4252-A4CE-53F029C863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5539" r="2075" b="10522"/>
            <a:stretch/>
          </p:blipFill>
          <p:spPr>
            <a:xfrm>
              <a:off x="41610" y="720106"/>
              <a:ext cx="9102390" cy="3779487"/>
            </a:xfrm>
            <a:prstGeom prst="rect">
              <a:avLst/>
            </a:prstGeom>
          </p:spPr>
        </p:pic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6344570-D219-467A-B90C-D08AD86DE7BC}"/>
                </a:ext>
              </a:extLst>
            </p:cNvPr>
            <p:cNvGrpSpPr/>
            <p:nvPr/>
          </p:nvGrpSpPr>
          <p:grpSpPr>
            <a:xfrm>
              <a:off x="440104" y="1447802"/>
              <a:ext cx="8340404" cy="2073964"/>
              <a:chOff x="440104" y="1447802"/>
              <a:chExt cx="8340404" cy="2073964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3D27D174-B520-4D99-837F-42C6B2411D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0104" y="3521766"/>
                <a:ext cx="2267712" cy="0"/>
              </a:xfrm>
              <a:prstGeom prst="line">
                <a:avLst/>
              </a:prstGeom>
              <a:ln w="28575">
                <a:solidFill>
                  <a:srgbClr val="004E57">
                    <a:alpha val="56000"/>
                  </a:srgbClr>
                </a:solidFill>
                <a:prstDash val="sysDot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5D3AC88D-971E-4F53-9C90-1C1F7D1AEA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67367" y="3521766"/>
                <a:ext cx="1901952" cy="0"/>
              </a:xfrm>
              <a:prstGeom prst="line">
                <a:avLst/>
              </a:prstGeom>
              <a:ln w="28575">
                <a:solidFill>
                  <a:srgbClr val="004E57">
                    <a:alpha val="56000"/>
                  </a:srgbClr>
                </a:solidFill>
                <a:prstDash val="sysDot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71E0A7EF-BE10-47CA-8640-4364C3C5DD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9815" y="3306285"/>
                <a:ext cx="1152144" cy="0"/>
              </a:xfrm>
              <a:prstGeom prst="line">
                <a:avLst/>
              </a:prstGeom>
              <a:ln w="28575">
                <a:solidFill>
                  <a:srgbClr val="004E57">
                    <a:alpha val="56000"/>
                  </a:srgbClr>
                </a:solidFill>
                <a:prstDash val="sysDot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DAF6224D-71B3-48B1-B27C-D27003F0AC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61360" y="1453896"/>
                <a:ext cx="0" cy="1380744"/>
              </a:xfrm>
              <a:prstGeom prst="line">
                <a:avLst/>
              </a:prstGeom>
              <a:ln w="28575">
                <a:solidFill>
                  <a:srgbClr val="004E57">
                    <a:alpha val="56000"/>
                  </a:srgbClr>
                </a:solidFill>
                <a:prstDash val="sysDot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5662F8A3-B82F-4A84-BC1F-5EDA2A5F7C0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132347" y="1447802"/>
                <a:ext cx="680695" cy="1357884"/>
              </a:xfrm>
              <a:prstGeom prst="line">
                <a:avLst/>
              </a:prstGeom>
              <a:ln w="28575">
                <a:solidFill>
                  <a:srgbClr val="004E57">
                    <a:alpha val="56000"/>
                  </a:srgbClr>
                </a:solidFill>
                <a:prstDash val="sysDot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63F2A0D-DB7B-483C-B22F-D9AEA9027170}"/>
                  </a:ext>
                </a:extLst>
              </p:cNvPr>
              <p:cNvSpPr txBox="1"/>
              <p:nvPr/>
            </p:nvSpPr>
            <p:spPr>
              <a:xfrm>
                <a:off x="3329941" y="1592345"/>
                <a:ext cx="1262858" cy="40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b="1" dirty="0">
                    <a:solidFill>
                      <a:srgbClr val="004E57"/>
                    </a:solidFill>
                  </a:rPr>
                  <a:t>V2N</a:t>
                </a:r>
              </a:p>
              <a:p>
                <a:r>
                  <a:rPr lang="de-DE" sz="1200" dirty="0">
                    <a:solidFill>
                      <a:srgbClr val="96B6BA"/>
                    </a:solidFill>
                  </a:rPr>
                  <a:t>Vehicle to Network</a:t>
                </a:r>
                <a:endParaRPr lang="en-US" sz="1200" dirty="0">
                  <a:solidFill>
                    <a:srgbClr val="96B6BA"/>
                  </a:solidFill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B86A12A-E9E6-4AB7-84E9-FDD232034F64}"/>
                  </a:ext>
                </a:extLst>
              </p:cNvPr>
              <p:cNvSpPr txBox="1"/>
              <p:nvPr/>
            </p:nvSpPr>
            <p:spPr>
              <a:xfrm>
                <a:off x="6502809" y="1742603"/>
                <a:ext cx="1579209" cy="40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b="1" dirty="0">
                    <a:solidFill>
                      <a:srgbClr val="004E57"/>
                    </a:solidFill>
                  </a:rPr>
                  <a:t>V2I</a:t>
                </a:r>
              </a:p>
              <a:p>
                <a:r>
                  <a:rPr lang="de-DE" sz="1200" dirty="0">
                    <a:solidFill>
                      <a:srgbClr val="96B6BA"/>
                    </a:solidFill>
                  </a:rPr>
                  <a:t>Vehicle to Infrastructure</a:t>
                </a:r>
                <a:endParaRPr lang="en-US" sz="1200" dirty="0">
                  <a:solidFill>
                    <a:srgbClr val="96B6BA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0D0EE70C-692D-4BE9-913C-25BC5BA0B368}"/>
                  </a:ext>
                </a:extLst>
              </p:cNvPr>
              <p:cNvSpPr txBox="1"/>
              <p:nvPr/>
            </p:nvSpPr>
            <p:spPr>
              <a:xfrm>
                <a:off x="4080511" y="2729827"/>
                <a:ext cx="1407880" cy="40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b="1" dirty="0">
                    <a:solidFill>
                      <a:srgbClr val="004E57"/>
                    </a:solidFill>
                  </a:rPr>
                  <a:t>V2V</a:t>
                </a:r>
              </a:p>
              <a:p>
                <a:r>
                  <a:rPr lang="de-DE" sz="1200" dirty="0">
                    <a:solidFill>
                      <a:srgbClr val="96B6BA"/>
                    </a:solidFill>
                  </a:rPr>
                  <a:t>Vehicle to Vehicle </a:t>
                </a:r>
                <a:endParaRPr lang="en-US" sz="1200" dirty="0">
                  <a:solidFill>
                    <a:srgbClr val="96B6BA"/>
                  </a:solidFill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1463329-26DF-465C-9326-D99419C2741B}"/>
                  </a:ext>
                </a:extLst>
              </p:cNvPr>
              <p:cNvSpPr txBox="1"/>
              <p:nvPr/>
            </p:nvSpPr>
            <p:spPr>
              <a:xfrm>
                <a:off x="6967341" y="3071932"/>
                <a:ext cx="1813167" cy="40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b="1" dirty="0">
                    <a:solidFill>
                      <a:srgbClr val="004E57"/>
                    </a:solidFill>
                  </a:rPr>
                  <a:t>V2P</a:t>
                </a:r>
              </a:p>
              <a:p>
                <a:r>
                  <a:rPr lang="de-DE" sz="1200" dirty="0">
                    <a:solidFill>
                      <a:srgbClr val="96B6BA"/>
                    </a:solidFill>
                  </a:rPr>
                  <a:t>Vehicle to Pedestrian </a:t>
                </a:r>
                <a:endParaRPr lang="en-US" sz="1200" dirty="0">
                  <a:solidFill>
                    <a:srgbClr val="96B6BA"/>
                  </a:solidFill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19324184-7D77-41C2-9EA5-A1C7A36F954B}"/>
                  </a:ext>
                </a:extLst>
              </p:cNvPr>
              <p:cNvSpPr txBox="1"/>
              <p:nvPr/>
            </p:nvSpPr>
            <p:spPr>
              <a:xfrm>
                <a:off x="1293486" y="2762846"/>
                <a:ext cx="1517062" cy="40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b="1" dirty="0">
                    <a:solidFill>
                      <a:srgbClr val="004E57"/>
                    </a:solidFill>
                  </a:rPr>
                  <a:t>V2P</a:t>
                </a:r>
              </a:p>
              <a:p>
                <a:r>
                  <a:rPr lang="de-DE" sz="1200" dirty="0">
                    <a:solidFill>
                      <a:srgbClr val="96B6BA"/>
                    </a:solidFill>
                  </a:rPr>
                  <a:t>Vehicle to Pedestrian </a:t>
                </a:r>
                <a:endParaRPr lang="en-US" sz="1200" dirty="0">
                  <a:solidFill>
                    <a:srgbClr val="96B6BA"/>
                  </a:solidFill>
                </a:endParaRPr>
              </a:p>
            </p:txBody>
          </p:sp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FAF7FA46-D0C2-47A5-AD86-AD9F69652F71}"/>
              </a:ext>
            </a:extLst>
          </p:cNvPr>
          <p:cNvSpPr txBox="1"/>
          <p:nvPr/>
        </p:nvSpPr>
        <p:spPr>
          <a:xfrm>
            <a:off x="3890245" y="6034937"/>
            <a:ext cx="3718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rgbClr val="004E57"/>
                </a:solidFill>
              </a:rPr>
              <a:t> V2X Communication</a:t>
            </a:r>
            <a:endParaRPr lang="en-GB" dirty="0">
              <a:solidFill>
                <a:srgbClr val="004E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7266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17"/>
          <p:cNvSpPr txBox="1">
            <a:spLocks noGrp="1"/>
          </p:cNvSpPr>
          <p:nvPr>
            <p:ph type="title" idx="4294967295"/>
          </p:nvPr>
        </p:nvSpPr>
        <p:spPr>
          <a:xfrm>
            <a:off x="212763" y="-117489"/>
            <a:ext cx="2592288" cy="1196752"/>
          </a:xfrm>
          <a:prstGeom prst="rect">
            <a:avLst/>
          </a:prstGeom>
        </p:spPr>
        <p:txBody>
          <a:bodyPr spcFirstLastPara="1" vert="horz" lIns="121920" tIns="60960" rIns="121920" bIns="60960" rtlCol="0" anchor="b" anchorCtr="0">
            <a:normAutofit fontScale="90000"/>
          </a:bodyPr>
          <a:lstStyle/>
          <a:p>
            <a:pPr algn="ctr" defTabSz="1219170"/>
            <a:r>
              <a:rPr lang="en-US" b="0" spc="-67" dirty="0"/>
              <a:t>Referenc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224B41-245C-4BF7-87DE-AFB248189BC9}"/>
              </a:ext>
            </a:extLst>
          </p:cNvPr>
          <p:cNvSpPr txBox="1"/>
          <p:nvPr/>
        </p:nvSpPr>
        <p:spPr>
          <a:xfrm>
            <a:off x="212763" y="1079263"/>
            <a:ext cx="11013140" cy="3447098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189" indent="-457189" algn="just">
              <a:buClr>
                <a:srgbClr val="004E57"/>
              </a:buClr>
              <a:buFont typeface="+mj-lt"/>
              <a:buAutoNum type="arabicPeriod"/>
            </a:pPr>
            <a:r>
              <a:rPr lang="en-GB" sz="2400" dirty="0" err="1"/>
              <a:t>Enev</a:t>
            </a:r>
            <a:r>
              <a:rPr lang="en-GB" sz="2400" dirty="0"/>
              <a:t>, M. et al., “Automobile Driver Fingerprinting,” Proceedings on Privacy Enhancing Technologies 1:34-50, 2016.</a:t>
            </a:r>
          </a:p>
          <a:p>
            <a:pPr marL="457189" indent="-457189" algn="just">
              <a:buClr>
                <a:srgbClr val="004E57"/>
              </a:buClr>
              <a:buFont typeface="+mj-lt"/>
              <a:buAutoNum type="arabicPeriod"/>
            </a:pPr>
            <a:r>
              <a:rPr lang="en-GB" sz="2400" dirty="0" err="1"/>
              <a:t>Pesé</a:t>
            </a:r>
            <a:r>
              <a:rPr lang="en-GB" sz="2400" dirty="0"/>
              <a:t>, M. and Shin, K., "Survey of Automotive Privacy Regulations and Privacy-Related Attacks," SAE Technical Paper 2019-01-0479, 2019, </a:t>
            </a:r>
            <a:r>
              <a:rPr lang="en-GB" sz="2400" dirty="0">
                <a:hlinkClick r:id="rId3"/>
              </a:rPr>
              <a:t>https://doi.org/10.4271/2019-01-0479</a:t>
            </a:r>
            <a:endParaRPr lang="en-GB" sz="2400" dirty="0"/>
          </a:p>
          <a:p>
            <a:pPr marL="457189" indent="-457189" algn="just">
              <a:buClr>
                <a:srgbClr val="004E57"/>
              </a:buClr>
              <a:buFont typeface="+mj-lt"/>
              <a:buAutoNum type="arabicPeriod"/>
            </a:pPr>
            <a:r>
              <a:rPr lang="en-GB" sz="2400" dirty="0" err="1"/>
              <a:t>Dewri</a:t>
            </a:r>
            <a:r>
              <a:rPr lang="en-GB" sz="2400" dirty="0"/>
              <a:t>, R., </a:t>
            </a:r>
            <a:r>
              <a:rPr lang="en-GB" sz="2400" dirty="0" err="1"/>
              <a:t>Annadata</a:t>
            </a:r>
            <a:r>
              <a:rPr lang="en-GB" sz="2400" dirty="0"/>
              <a:t>, P., </a:t>
            </a:r>
            <a:r>
              <a:rPr lang="en-GB" sz="2400" dirty="0" err="1"/>
              <a:t>Eltarjaman</a:t>
            </a:r>
            <a:r>
              <a:rPr lang="en-GB" sz="2400" dirty="0"/>
              <a:t>, W., and </a:t>
            </a:r>
            <a:r>
              <a:rPr lang="en-GB" sz="2400" dirty="0" err="1"/>
              <a:t>Thurimella</a:t>
            </a:r>
            <a:r>
              <a:rPr lang="en-GB" sz="2400" dirty="0"/>
              <a:t>, R., “Inferring Trip Destinations from Driving Habits Data,” in Proceedings of the 12th ACM Workshop on Privacy in the Electronic Society, 267-272, ACM, November 2013). </a:t>
            </a:r>
          </a:p>
          <a:p>
            <a:pPr marL="457189" indent="-457189" algn="just">
              <a:buClr>
                <a:srgbClr val="004E57"/>
              </a:buClr>
              <a:buFont typeface="+mj-lt"/>
              <a:buAutoNum type="arabicPeriod"/>
            </a:pPr>
            <a:endParaRPr lang="en-US" sz="2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F440558-FA3A-4C21-A8A4-58B225F579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21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3241736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42A5316D-ED2F-4F89-B4B4-8D9240B1A3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4A67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88126673-B79D-4C91-B1AC-29F11D0670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600" y="1531938"/>
            <a:ext cx="7315200" cy="379095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0657D9D3-D95C-4964-B816-515E85C7FEC3}"/>
              </a:ext>
            </a:extLst>
          </p:cNvPr>
          <p:cNvSpPr txBox="1"/>
          <p:nvPr/>
        </p:nvSpPr>
        <p:spPr>
          <a:xfrm>
            <a:off x="4038600" y="5322888"/>
            <a:ext cx="7315200" cy="758825"/>
          </a:xfrm>
          <a:prstGeom prst="rect">
            <a:avLst/>
          </a:prstGeom>
          <a:solidFill>
            <a:srgbClr val="000000">
              <a:alpha val="50000"/>
            </a:srgb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300" dirty="0">
                <a:solidFill>
                  <a:srgbClr val="FFFFFF"/>
                </a:solidFill>
              </a:rPr>
              <a:t>Levels of Automation(https://www.unity.de/en/services/systems-engineering/automated-driving-through-systems-engineering/)</a:t>
            </a:r>
            <a:endParaRPr lang="en-GB" sz="1300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622F09-9206-4657-8207-CF25989FE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57400"/>
            <a:ext cx="2743200" cy="2743200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AE J3016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C99F9F-B3B0-46C4-A0CC-5E89C9305A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6988" y="6356350"/>
            <a:ext cx="1613647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914400">
              <a:spcAft>
                <a:spcPts val="600"/>
              </a:spcAft>
            </a:pPr>
            <a:fld id="{D4ED4BC6-4D0D-4C38-8E61-3B7265C53276}" type="datetime1">
              <a:rPr lang="en-US">
                <a:solidFill>
                  <a:srgbClr val="FFFFFF"/>
                </a:solidFill>
              </a:rPr>
              <a:pPr algn="r" defTabSz="914400">
                <a:spcAft>
                  <a:spcPts val="600"/>
                </a:spcAft>
              </a:pPr>
              <a:t>3/22/202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822DBB-7C97-48F0-8159-977EA847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D325CB3F-26C9-44D7-A7CB-40F86C5CE4B1}" type="slidenum">
              <a:rPr lang="en-US">
                <a:solidFill>
                  <a:schemeClr val="tx1">
                    <a:alpha val="80000"/>
                  </a:schemeClr>
                </a:solidFill>
              </a:rPr>
              <a:pPr defTabSz="914400">
                <a:spcAft>
                  <a:spcPts val="600"/>
                </a:spcAft>
              </a:pPr>
              <a:t>3</a:t>
            </a:fld>
            <a:endParaRPr lang="en-US">
              <a:solidFill>
                <a:schemeClr val="tx1">
                  <a:alpha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6681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22F09-9206-4657-8207-CF25989FE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nected Vehicle Ecosystem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C99F9F-B3B0-46C4-A0CC-5E89C9305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D4BC6-4D0D-4C38-8E61-3B7265C53276}" type="datetime1">
              <a:rPr lang="en-US" smtClean="0"/>
              <a:t>3/22/20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822DBB-7C97-48F0-8159-977EA847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4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B13FD4-DB3C-4E19-8868-F374298264C8}"/>
              </a:ext>
            </a:extLst>
          </p:cNvPr>
          <p:cNvGrpSpPr/>
          <p:nvPr/>
        </p:nvGrpSpPr>
        <p:grpSpPr>
          <a:xfrm>
            <a:off x="1271464" y="1467098"/>
            <a:ext cx="9937104" cy="4589261"/>
            <a:chOff x="41610" y="720106"/>
            <a:chExt cx="9102390" cy="3779487"/>
          </a:xfrm>
        </p:grpSpPr>
        <p:pic>
          <p:nvPicPr>
            <p:cNvPr id="6" name="Picture 5" descr="A picture containing text, projector&#10;&#10;Description automatically generated">
              <a:extLst>
                <a:ext uri="{FF2B5EF4-FFF2-40B4-BE49-F238E27FC236}">
                  <a16:creationId xmlns:a16="http://schemas.microsoft.com/office/drawing/2014/main" id="{35867B8F-CB17-4252-A4CE-53F029C863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539" r="2075" b="10522"/>
            <a:stretch/>
          </p:blipFill>
          <p:spPr>
            <a:xfrm>
              <a:off x="41610" y="720106"/>
              <a:ext cx="9102390" cy="3779487"/>
            </a:xfrm>
            <a:prstGeom prst="rect">
              <a:avLst/>
            </a:prstGeom>
          </p:spPr>
        </p:pic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6344570-D219-467A-B90C-D08AD86DE7BC}"/>
                </a:ext>
              </a:extLst>
            </p:cNvPr>
            <p:cNvGrpSpPr/>
            <p:nvPr/>
          </p:nvGrpSpPr>
          <p:grpSpPr>
            <a:xfrm>
              <a:off x="440104" y="1447802"/>
              <a:ext cx="8340404" cy="2073964"/>
              <a:chOff x="440104" y="1447802"/>
              <a:chExt cx="8340404" cy="2073964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3D27D174-B520-4D99-837F-42C6B2411D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0104" y="3521766"/>
                <a:ext cx="2267712" cy="0"/>
              </a:xfrm>
              <a:prstGeom prst="line">
                <a:avLst/>
              </a:prstGeom>
              <a:ln w="28575">
                <a:solidFill>
                  <a:srgbClr val="004E57">
                    <a:alpha val="56000"/>
                  </a:srgbClr>
                </a:solidFill>
                <a:prstDash val="sysDot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5D3AC88D-971E-4F53-9C90-1C1F7D1AEA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67367" y="3521766"/>
                <a:ext cx="1901952" cy="0"/>
              </a:xfrm>
              <a:prstGeom prst="line">
                <a:avLst/>
              </a:prstGeom>
              <a:ln w="28575">
                <a:solidFill>
                  <a:srgbClr val="004E57">
                    <a:alpha val="56000"/>
                  </a:srgbClr>
                </a:solidFill>
                <a:prstDash val="sysDot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71E0A7EF-BE10-47CA-8640-4364C3C5DD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9815" y="3306285"/>
                <a:ext cx="1152144" cy="0"/>
              </a:xfrm>
              <a:prstGeom prst="line">
                <a:avLst/>
              </a:prstGeom>
              <a:ln w="28575">
                <a:solidFill>
                  <a:srgbClr val="004E57">
                    <a:alpha val="56000"/>
                  </a:srgbClr>
                </a:solidFill>
                <a:prstDash val="sysDot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DAF6224D-71B3-48B1-B27C-D27003F0AC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61360" y="1453896"/>
                <a:ext cx="0" cy="1380744"/>
              </a:xfrm>
              <a:prstGeom prst="line">
                <a:avLst/>
              </a:prstGeom>
              <a:ln w="28575">
                <a:solidFill>
                  <a:srgbClr val="004E57">
                    <a:alpha val="56000"/>
                  </a:srgbClr>
                </a:solidFill>
                <a:prstDash val="sysDot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5662F8A3-B82F-4A84-BC1F-5EDA2A5F7C0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132347" y="1447802"/>
                <a:ext cx="680695" cy="1357884"/>
              </a:xfrm>
              <a:prstGeom prst="line">
                <a:avLst/>
              </a:prstGeom>
              <a:ln w="28575">
                <a:solidFill>
                  <a:srgbClr val="004E57">
                    <a:alpha val="56000"/>
                  </a:srgbClr>
                </a:solidFill>
                <a:prstDash val="sysDot"/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63F2A0D-DB7B-483C-B22F-D9AEA9027170}"/>
                  </a:ext>
                </a:extLst>
              </p:cNvPr>
              <p:cNvSpPr txBox="1"/>
              <p:nvPr/>
            </p:nvSpPr>
            <p:spPr>
              <a:xfrm>
                <a:off x="3329941" y="1592345"/>
                <a:ext cx="1262858" cy="40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b="1" dirty="0">
                    <a:solidFill>
                      <a:srgbClr val="004E57"/>
                    </a:solidFill>
                  </a:rPr>
                  <a:t>V2N</a:t>
                </a:r>
              </a:p>
              <a:p>
                <a:r>
                  <a:rPr lang="de-DE" sz="1200" dirty="0">
                    <a:solidFill>
                      <a:srgbClr val="96B6BA"/>
                    </a:solidFill>
                  </a:rPr>
                  <a:t>Vehicle to Network</a:t>
                </a:r>
                <a:endParaRPr lang="en-US" sz="1200" dirty="0">
                  <a:solidFill>
                    <a:srgbClr val="96B6BA"/>
                  </a:solidFill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B86A12A-E9E6-4AB7-84E9-FDD232034F64}"/>
                  </a:ext>
                </a:extLst>
              </p:cNvPr>
              <p:cNvSpPr txBox="1"/>
              <p:nvPr/>
            </p:nvSpPr>
            <p:spPr>
              <a:xfrm>
                <a:off x="6502809" y="1742603"/>
                <a:ext cx="1579209" cy="40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b="1" dirty="0">
                    <a:solidFill>
                      <a:srgbClr val="004E57"/>
                    </a:solidFill>
                  </a:rPr>
                  <a:t>V2I</a:t>
                </a:r>
              </a:p>
              <a:p>
                <a:r>
                  <a:rPr lang="de-DE" sz="1200" dirty="0">
                    <a:solidFill>
                      <a:srgbClr val="96B6BA"/>
                    </a:solidFill>
                  </a:rPr>
                  <a:t>Vehicle to Infrastructure</a:t>
                </a:r>
                <a:endParaRPr lang="en-US" sz="1200" dirty="0">
                  <a:solidFill>
                    <a:srgbClr val="96B6BA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0D0EE70C-692D-4BE9-913C-25BC5BA0B368}"/>
                  </a:ext>
                </a:extLst>
              </p:cNvPr>
              <p:cNvSpPr txBox="1"/>
              <p:nvPr/>
            </p:nvSpPr>
            <p:spPr>
              <a:xfrm>
                <a:off x="4080511" y="2729827"/>
                <a:ext cx="1407880" cy="40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b="1" dirty="0">
                    <a:solidFill>
                      <a:srgbClr val="004E57"/>
                    </a:solidFill>
                  </a:rPr>
                  <a:t>V2V</a:t>
                </a:r>
              </a:p>
              <a:p>
                <a:r>
                  <a:rPr lang="de-DE" sz="1200" dirty="0">
                    <a:solidFill>
                      <a:srgbClr val="96B6BA"/>
                    </a:solidFill>
                  </a:rPr>
                  <a:t>Vehicle to Vehicle </a:t>
                </a:r>
                <a:endParaRPr lang="en-US" sz="1200" dirty="0">
                  <a:solidFill>
                    <a:srgbClr val="96B6BA"/>
                  </a:solidFill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1463329-26DF-465C-9326-D99419C2741B}"/>
                  </a:ext>
                </a:extLst>
              </p:cNvPr>
              <p:cNvSpPr txBox="1"/>
              <p:nvPr/>
            </p:nvSpPr>
            <p:spPr>
              <a:xfrm>
                <a:off x="6967341" y="3071932"/>
                <a:ext cx="1813167" cy="40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b="1" dirty="0">
                    <a:solidFill>
                      <a:srgbClr val="004E57"/>
                    </a:solidFill>
                  </a:rPr>
                  <a:t>V2P</a:t>
                </a:r>
              </a:p>
              <a:p>
                <a:r>
                  <a:rPr lang="de-DE" sz="1200" dirty="0">
                    <a:solidFill>
                      <a:srgbClr val="96B6BA"/>
                    </a:solidFill>
                  </a:rPr>
                  <a:t>Vehicle to Pedestrian </a:t>
                </a:r>
                <a:endParaRPr lang="en-US" sz="1200" dirty="0">
                  <a:solidFill>
                    <a:srgbClr val="96B6BA"/>
                  </a:solidFill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19324184-7D77-41C2-9EA5-A1C7A36F954B}"/>
                  </a:ext>
                </a:extLst>
              </p:cNvPr>
              <p:cNvSpPr txBox="1"/>
              <p:nvPr/>
            </p:nvSpPr>
            <p:spPr>
              <a:xfrm>
                <a:off x="1293486" y="2762846"/>
                <a:ext cx="1517062" cy="40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b="1" dirty="0">
                    <a:solidFill>
                      <a:srgbClr val="004E57"/>
                    </a:solidFill>
                  </a:rPr>
                  <a:t>V2P</a:t>
                </a:r>
              </a:p>
              <a:p>
                <a:r>
                  <a:rPr lang="de-DE" sz="1200" dirty="0">
                    <a:solidFill>
                      <a:srgbClr val="96B6BA"/>
                    </a:solidFill>
                  </a:rPr>
                  <a:t>Vehicle to Pedestrian </a:t>
                </a:r>
                <a:endParaRPr lang="en-US" sz="1200" dirty="0">
                  <a:solidFill>
                    <a:srgbClr val="96B6BA"/>
                  </a:solidFill>
                </a:endParaRPr>
              </a:p>
            </p:txBody>
          </p:sp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FAF7FA46-D0C2-47A5-AD86-AD9F69652F71}"/>
              </a:ext>
            </a:extLst>
          </p:cNvPr>
          <p:cNvSpPr txBox="1"/>
          <p:nvPr/>
        </p:nvSpPr>
        <p:spPr>
          <a:xfrm>
            <a:off x="3890245" y="6034937"/>
            <a:ext cx="3718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rgbClr val="004E57"/>
                </a:solidFill>
              </a:rPr>
              <a:t> </a:t>
            </a:r>
            <a:r>
              <a:rPr lang="de-DE" b="1" dirty="0">
                <a:solidFill>
                  <a:srgbClr val="004E57"/>
                </a:solidFill>
              </a:rPr>
              <a:t>V2X Communication</a:t>
            </a:r>
            <a:endParaRPr lang="en-GB" b="1" dirty="0">
              <a:solidFill>
                <a:srgbClr val="004E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392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22F09-9206-4657-8207-CF25989FE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hicle Data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C99F9F-B3B0-46C4-A0CC-5E89C9305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D4BC6-4D0D-4C38-8E61-3B7265C53276}" type="datetime1">
              <a:rPr lang="en-US" smtClean="0"/>
              <a:t>3/22/20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822DBB-7C97-48F0-8159-977EA847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5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9614F06-B5B9-48F0-9EB2-D13BB3D879FC}"/>
              </a:ext>
            </a:extLst>
          </p:cNvPr>
          <p:cNvGrpSpPr/>
          <p:nvPr/>
        </p:nvGrpSpPr>
        <p:grpSpPr>
          <a:xfrm>
            <a:off x="1199456" y="1467098"/>
            <a:ext cx="9865096" cy="4331998"/>
            <a:chOff x="450686" y="917472"/>
            <a:chExt cx="8397658" cy="3628983"/>
          </a:xfrm>
        </p:grpSpPr>
        <p:pic>
          <p:nvPicPr>
            <p:cNvPr id="20" name="Picture 19" descr="A picture containing weapon, projector&#10;&#10;Description automatically generated">
              <a:extLst>
                <a:ext uri="{FF2B5EF4-FFF2-40B4-BE49-F238E27FC236}">
                  <a16:creationId xmlns:a16="http://schemas.microsoft.com/office/drawing/2014/main" id="{C65E97F9-F772-47CB-91D2-F427DE3BCE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8144" r="20493" b="11787"/>
            <a:stretch/>
          </p:blipFill>
          <p:spPr>
            <a:xfrm>
              <a:off x="703942" y="917472"/>
              <a:ext cx="7315199" cy="3505376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23AD497-6DDB-468B-B9AD-55241AC8AC5A}"/>
                </a:ext>
              </a:extLst>
            </p:cNvPr>
            <p:cNvSpPr txBox="1"/>
            <p:nvPr/>
          </p:nvSpPr>
          <p:spPr>
            <a:xfrm>
              <a:off x="5850047" y="1243583"/>
              <a:ext cx="125272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004E57"/>
                  </a:solidFill>
                </a:rPr>
                <a:t>GPS Sensor</a:t>
              </a:r>
              <a:endParaRPr lang="en-US" sz="1600" dirty="0">
                <a:solidFill>
                  <a:srgbClr val="004E57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0526735-0533-47C8-B6EA-A751B93FD8C0}"/>
                </a:ext>
              </a:extLst>
            </p:cNvPr>
            <p:cNvSpPr txBox="1"/>
            <p:nvPr/>
          </p:nvSpPr>
          <p:spPr>
            <a:xfrm>
              <a:off x="7240942" y="2224132"/>
              <a:ext cx="125272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004E57"/>
                  </a:solidFill>
                </a:rPr>
                <a:t>Fuel Sensor</a:t>
              </a:r>
              <a:endParaRPr lang="en-US" sz="1600" dirty="0">
                <a:solidFill>
                  <a:srgbClr val="004E57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535AEC5-1636-4605-9854-2875E57A0C5A}"/>
                </a:ext>
              </a:extLst>
            </p:cNvPr>
            <p:cNvSpPr txBox="1"/>
            <p:nvPr/>
          </p:nvSpPr>
          <p:spPr>
            <a:xfrm>
              <a:off x="6886268" y="4207901"/>
              <a:ext cx="196207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004E57"/>
                  </a:solidFill>
                </a:rPr>
                <a:t>CO2 </a:t>
              </a:r>
              <a:r>
                <a:rPr lang="de-DE" sz="1600" dirty="0" err="1">
                  <a:solidFill>
                    <a:srgbClr val="004E57"/>
                  </a:solidFill>
                </a:rPr>
                <a:t>Exhaust</a:t>
              </a:r>
              <a:r>
                <a:rPr lang="de-DE" sz="1600" dirty="0">
                  <a:solidFill>
                    <a:srgbClr val="004E57"/>
                  </a:solidFill>
                </a:rPr>
                <a:t> Sensor</a:t>
              </a:r>
              <a:endParaRPr lang="en-US" sz="1600" dirty="0">
                <a:solidFill>
                  <a:srgbClr val="004E57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6B7FABF-8C5B-4B0C-9845-919047F19919}"/>
                </a:ext>
              </a:extLst>
            </p:cNvPr>
            <p:cNvSpPr txBox="1"/>
            <p:nvPr/>
          </p:nvSpPr>
          <p:spPr>
            <a:xfrm>
              <a:off x="2364540" y="1243583"/>
              <a:ext cx="125272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 err="1">
                  <a:solidFill>
                    <a:srgbClr val="004E57"/>
                  </a:solidFill>
                </a:rPr>
                <a:t>Camera</a:t>
              </a:r>
              <a:endParaRPr lang="en-US" sz="1600" dirty="0">
                <a:solidFill>
                  <a:srgbClr val="004E57"/>
                </a:solidFill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7225C71-4095-40C7-9616-282FF68A5F6A}"/>
                </a:ext>
              </a:extLst>
            </p:cNvPr>
            <p:cNvSpPr txBox="1"/>
            <p:nvPr/>
          </p:nvSpPr>
          <p:spPr>
            <a:xfrm>
              <a:off x="466383" y="2137469"/>
              <a:ext cx="125272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 err="1">
                  <a:solidFill>
                    <a:srgbClr val="004E57"/>
                  </a:solidFill>
                </a:rPr>
                <a:t>Microphone</a:t>
              </a:r>
              <a:endParaRPr lang="en-US" sz="1600" dirty="0">
                <a:solidFill>
                  <a:srgbClr val="004E57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73C341D-CFCC-4F40-9996-D825F0850DB2}"/>
                </a:ext>
              </a:extLst>
            </p:cNvPr>
            <p:cNvSpPr txBox="1"/>
            <p:nvPr/>
          </p:nvSpPr>
          <p:spPr>
            <a:xfrm>
              <a:off x="450686" y="4197471"/>
              <a:ext cx="156804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004E57"/>
                  </a:solidFill>
                </a:rPr>
                <a:t>Speed Sensor </a:t>
              </a:r>
              <a:endParaRPr lang="en-US" sz="1600" dirty="0">
                <a:solidFill>
                  <a:srgbClr val="004E57"/>
                </a:solidFill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0657D9D3-D95C-4964-B816-515E85C7FEC3}"/>
              </a:ext>
            </a:extLst>
          </p:cNvPr>
          <p:cNvSpPr txBox="1"/>
          <p:nvPr/>
        </p:nvSpPr>
        <p:spPr>
          <a:xfrm>
            <a:off x="4147908" y="5876806"/>
            <a:ext cx="38961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rgbClr val="004E57"/>
                </a:solidFill>
              </a:rPr>
              <a:t> </a:t>
            </a:r>
            <a:r>
              <a:rPr lang="de-DE" b="1" dirty="0">
                <a:solidFill>
                  <a:srgbClr val="004E57"/>
                </a:solidFill>
              </a:rPr>
              <a:t>Examples of sensor data generated inside a vehicle</a:t>
            </a:r>
            <a:endParaRPr lang="en-GB" b="1" dirty="0">
              <a:solidFill>
                <a:srgbClr val="004E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705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3" name="Rectangle 52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5D97875-9B53-4EA0-A7D1-701485142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4805"/>
            <a:ext cx="10515600" cy="1505883"/>
          </a:xfrm>
          <a:prstGeom prst="ellipse">
            <a:avLst/>
          </a:prstGeom>
        </p:spPr>
        <p:txBody>
          <a:bodyPr anchor="ctr">
            <a:normAutofit/>
          </a:bodyPr>
          <a:lstStyle/>
          <a:p>
            <a:pPr algn="ctr"/>
            <a:r>
              <a:rPr lang="de-DE" dirty="0"/>
              <a:t>More Vehicle Data</a:t>
            </a:r>
            <a:endParaRPr lang="en-GB" dirty="0"/>
          </a:p>
        </p:txBody>
      </p:sp>
      <p:pic>
        <p:nvPicPr>
          <p:cNvPr id="10" name="Picture 9" descr="Diagram, schematic&#10;&#10;Description automatically generated">
            <a:extLst>
              <a:ext uri="{FF2B5EF4-FFF2-40B4-BE49-F238E27FC236}">
                <a16:creationId xmlns:a16="http://schemas.microsoft.com/office/drawing/2014/main" id="{6448DA00-B384-43FF-A41E-ADCB1A6368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268760"/>
            <a:ext cx="10082336" cy="5435247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C99F9F-B3B0-46C4-A0CC-5E89C9305A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vert="horz" lIns="91440" tIns="45720" rIns="91440" bIns="45720" rtlCol="0">
            <a:normAutofit/>
          </a:bodyPr>
          <a:lstStyle/>
          <a:p>
            <a:pPr defTabSz="914400">
              <a:spcAft>
                <a:spcPts val="600"/>
              </a:spcAft>
            </a:pPr>
            <a:fld id="{D4ED4BC6-4D0D-4C38-8E61-3B7265C53276}" type="datetime1">
              <a:rPr lang="en-US"/>
              <a:pPr defTabSz="914400">
                <a:spcAft>
                  <a:spcPts val="600"/>
                </a:spcAft>
              </a:pPr>
              <a:t>3/22/20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822DBB-7C97-48F0-8159-977EA847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>
            <a:normAutofit/>
          </a:bodyPr>
          <a:lstStyle/>
          <a:p>
            <a:pPr defTabSz="914400">
              <a:spcAft>
                <a:spcPts val="600"/>
              </a:spcAft>
            </a:pPr>
            <a:fld id="{D325CB3F-26C9-44D7-A7CB-40F86C5CE4B1}" type="slidenum">
              <a:rPr lang="en-US"/>
              <a:pPr defTabSz="914400">
                <a:spcAft>
                  <a:spcPts val="600"/>
                </a:spcAft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0494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0F516D-3F56-4C87-9DF3-EEF1F37B29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hat features would you want in your vehicle?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413063-742C-4CB7-9E5E-8F61DB772A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E60D43-205C-49E2-BFE6-AFEE81AD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A5652-EC40-4471-9F09-BF266E7781BF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50623E-6754-4E2C-BC03-482D56752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4087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0F516D-3F56-4C87-9DF3-EEF1F37B29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hat features would you want in your vehicle?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413063-742C-4CB7-9E5E-8F61DB772A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35566" y="5880905"/>
            <a:ext cx="8786621" cy="647826"/>
          </a:xfrm>
        </p:spPr>
        <p:txBody>
          <a:bodyPr>
            <a:normAutofit/>
          </a:bodyPr>
          <a:lstStyle/>
          <a:p>
            <a:r>
              <a:rPr lang="en-GB" sz="1050" dirty="0"/>
              <a:t>https://auto.hindustantimes.com/auto/cars/this-electric-batmobile-tumbler-replica-is-batman-s-green-ride-could-be-yours-41645407269573.htm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E60D43-205C-49E2-BFE6-AFEE81AD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A5652-EC40-4471-9F09-BF266E7781BF}" type="datetime1">
              <a:rPr lang="en-US" smtClean="0"/>
              <a:t>3/22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50623E-6754-4E2C-BC03-482D56752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7" name="Picture 6" descr="A black and white photo of a car&#10;&#10;Description automatically generated with medium confidence">
            <a:extLst>
              <a:ext uri="{FF2B5EF4-FFF2-40B4-BE49-F238E27FC236}">
                <a16:creationId xmlns:a16="http://schemas.microsoft.com/office/drawing/2014/main" id="{0F8AF592-5BE3-4FD6-8C43-05B95E2BEB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5566" y="2412862"/>
            <a:ext cx="8786621" cy="3497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386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22F09-9206-4657-8207-CF25989FE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ivacy related attacks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C99F9F-B3B0-46C4-A0CC-5E89C9305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D4BC6-4D0D-4C38-8E61-3B7265C53276}" type="datetime1">
              <a:rPr lang="en-US" smtClean="0"/>
              <a:t>3/22/20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822DBB-7C97-48F0-8159-977EA847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5CB3F-26C9-44D7-A7CB-40F86C5CE4B1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1F71D3-238C-4BE1-832A-756EC0F89AC6}"/>
              </a:ext>
            </a:extLst>
          </p:cNvPr>
          <p:cNvSpPr txBox="1"/>
          <p:nvPr/>
        </p:nvSpPr>
        <p:spPr>
          <a:xfrm>
            <a:off x="838200" y="1530694"/>
            <a:ext cx="1015434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rgbClr val="004E57"/>
                </a:solidFill>
              </a:rPr>
              <a:t>3</a:t>
            </a:r>
            <a:r>
              <a:rPr lang="de-DE" dirty="0">
                <a:solidFill>
                  <a:srgbClr val="004E57"/>
                </a:solidFill>
              </a:rPr>
              <a:t> </a:t>
            </a:r>
            <a:r>
              <a:rPr lang="de-DE" sz="2400" dirty="0">
                <a:solidFill>
                  <a:srgbClr val="004E57"/>
                </a:solidFill>
              </a:rPr>
              <a:t>main types of privacy attacks [2]:</a:t>
            </a:r>
          </a:p>
          <a:p>
            <a:pPr marL="342900" indent="-342900">
              <a:buAutoNum type="arabicPeriod"/>
            </a:pPr>
            <a:r>
              <a:rPr lang="de-DE" sz="2400" b="1" dirty="0">
                <a:solidFill>
                  <a:srgbClr val="004E57"/>
                </a:solidFill>
              </a:rPr>
              <a:t>Driver fingerprinting</a:t>
            </a:r>
            <a:r>
              <a:rPr lang="de-DE" sz="2400" dirty="0">
                <a:solidFill>
                  <a:srgbClr val="004E57"/>
                </a:solidFill>
              </a:rPr>
              <a:t>: Identifying a driver among a set of other driver candidates.</a:t>
            </a:r>
          </a:p>
          <a:p>
            <a:pPr marL="800078" lvl="1" indent="-342900">
              <a:buFont typeface="Wingdings" panose="05000000000000000000" pitchFamily="2" charset="2"/>
              <a:buChar char="§"/>
            </a:pPr>
            <a:r>
              <a:rPr lang="de-DE" sz="2400" dirty="0">
                <a:solidFill>
                  <a:srgbClr val="004E57"/>
                </a:solidFill>
              </a:rPr>
              <a:t>Enev and team [1] study – data from 15 sensors</a:t>
            </a:r>
          </a:p>
          <a:p>
            <a:pPr marL="342900" indent="-342900">
              <a:buAutoNum type="arabicPeriod"/>
            </a:pPr>
            <a:r>
              <a:rPr lang="de-DE" sz="2400" b="1" dirty="0">
                <a:solidFill>
                  <a:srgbClr val="004E57"/>
                </a:solidFill>
              </a:rPr>
              <a:t>Location inference</a:t>
            </a:r>
            <a:r>
              <a:rPr lang="de-DE" sz="2400" dirty="0">
                <a:solidFill>
                  <a:srgbClr val="004E57"/>
                </a:solidFill>
              </a:rPr>
              <a:t>: Identifying location even when not explicitly disclosed</a:t>
            </a:r>
          </a:p>
          <a:p>
            <a:pPr marL="800078" lvl="1" indent="-342900">
              <a:buFont typeface="Wingdings" panose="05000000000000000000" pitchFamily="2" charset="2"/>
              <a:buChar char="§"/>
            </a:pPr>
            <a:r>
              <a:rPr lang="de-DE" sz="2400" dirty="0">
                <a:solidFill>
                  <a:srgbClr val="004E57"/>
                </a:solidFill>
              </a:rPr>
              <a:t>Dewri and team [3] study – speed and steering wheel angle data.</a:t>
            </a:r>
          </a:p>
          <a:p>
            <a:pPr marL="342900" indent="-342900">
              <a:buAutoNum type="arabicPeriod"/>
            </a:pPr>
            <a:r>
              <a:rPr lang="de-DE" sz="2400" b="1" dirty="0">
                <a:solidFill>
                  <a:srgbClr val="004E57"/>
                </a:solidFill>
              </a:rPr>
              <a:t>Driving behavior analysis</a:t>
            </a:r>
          </a:p>
          <a:p>
            <a:pPr marL="800078" lvl="1" indent="-342900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4E57"/>
                </a:solidFill>
              </a:rPr>
              <a:t>Data collected by Usage Based Insurance (UBI) companies – mileage, speed, acceleration, hard braking – to detect distracted or drunk driving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0726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ock_POWER_USER_SEPARATOR_ICONS_locked_POWER_USER_SEPARATOR_ICONS_locked-lock_POWER_USER_SEPARATOR_ICONS_privacy_POWER_USER_SEPARATOR_ICONS_securit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ock_POWER_USER_SEPARATOR_ICONS_locked_POWER_USER_SEPARATOR_ICONS_locked-lock_POWER_USER_SEPARATOR_ICONS_privacy_POWER_USER_SEPARATOR_ICONS_security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ock_POWER_USER_SEPARATOR_ICONS_locked_POWER_USER_SEPARATOR_ICONS_locked-lock_POWER_USER_SEPARATOR_ICONS_privacy_POWER_USER_SEPARATOR_ICONS_security"/>
</p:tagLst>
</file>

<file path=ppt/theme/theme1.xml><?xml version="1.0" encoding="utf-8"?>
<a:theme xmlns:a="http://schemas.openxmlformats.org/drawingml/2006/main" name="Custom Design">
  <a:themeElements>
    <a:clrScheme name="Sho-Template06">
      <a:dk1>
        <a:sysClr val="windowText" lastClr="000000"/>
      </a:dk1>
      <a:lt1>
        <a:sysClr val="window" lastClr="FFFFFF"/>
      </a:lt1>
      <a:dk2>
        <a:srgbClr val="3D4149"/>
      </a:dk2>
      <a:lt2>
        <a:srgbClr val="E7E6E6"/>
      </a:lt2>
      <a:accent1>
        <a:srgbClr val="403551"/>
      </a:accent1>
      <a:accent2>
        <a:srgbClr val="D0343C"/>
      </a:accent2>
      <a:accent3>
        <a:srgbClr val="F9BE75"/>
      </a:accent3>
      <a:accent4>
        <a:srgbClr val="8DB1C4"/>
      </a:accent4>
      <a:accent5>
        <a:srgbClr val="615474"/>
      </a:accent5>
      <a:accent6>
        <a:srgbClr val="E4625C"/>
      </a:accent6>
      <a:hlink>
        <a:srgbClr val="E4625C"/>
      </a:hlink>
      <a:folHlink>
        <a:srgbClr val="D0343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howeet theme">
  <a:themeElements>
    <a:clrScheme name="Sho-Template06">
      <a:dk1>
        <a:sysClr val="windowText" lastClr="000000"/>
      </a:dk1>
      <a:lt1>
        <a:sysClr val="window" lastClr="FFFFFF"/>
      </a:lt1>
      <a:dk2>
        <a:srgbClr val="3D4149"/>
      </a:dk2>
      <a:lt2>
        <a:srgbClr val="E7E6E6"/>
      </a:lt2>
      <a:accent1>
        <a:srgbClr val="403551"/>
      </a:accent1>
      <a:accent2>
        <a:srgbClr val="D0343C"/>
      </a:accent2>
      <a:accent3>
        <a:srgbClr val="F9BE75"/>
      </a:accent3>
      <a:accent4>
        <a:srgbClr val="8DB1C4"/>
      </a:accent4>
      <a:accent5>
        <a:srgbClr val="615474"/>
      </a:accent5>
      <a:accent6>
        <a:srgbClr val="E4625C"/>
      </a:accent6>
      <a:hlink>
        <a:srgbClr val="E4625C"/>
      </a:hlink>
      <a:folHlink>
        <a:srgbClr val="D0343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howeet">
  <a:themeElements>
    <a:clrScheme name="Sho-RETRO">
      <a:dk1>
        <a:srgbClr val="231F20"/>
      </a:dk1>
      <a:lt1>
        <a:sysClr val="window" lastClr="FFFFFF"/>
      </a:lt1>
      <a:dk2>
        <a:srgbClr val="1E2631"/>
      </a:dk2>
      <a:lt2>
        <a:srgbClr val="E9DEDB"/>
      </a:lt2>
      <a:accent1>
        <a:srgbClr val="CD5727"/>
      </a:accent1>
      <a:accent2>
        <a:srgbClr val="B54923"/>
      </a:accent2>
      <a:accent3>
        <a:srgbClr val="933416"/>
      </a:accent3>
      <a:accent4>
        <a:srgbClr val="231F20"/>
      </a:accent4>
      <a:accent5>
        <a:srgbClr val="E9DEDB"/>
      </a:accent5>
      <a:accent6>
        <a:srgbClr val="1E2631"/>
      </a:accent6>
      <a:hlink>
        <a:srgbClr val="7F7F7F"/>
      </a:hlink>
      <a:folHlink>
        <a:srgbClr val="7F7F7F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4565</TotalTime>
  <Words>576</Words>
  <Application>Microsoft Office PowerPoint</Application>
  <PresentationFormat>Widescreen</PresentationFormat>
  <Paragraphs>152</Paragraphs>
  <Slides>21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Calibri</vt:lpstr>
      <vt:lpstr>Calibri Light</vt:lpstr>
      <vt:lpstr>Gill Sans</vt:lpstr>
      <vt:lpstr>Open Sans</vt:lpstr>
      <vt:lpstr>Wingdings</vt:lpstr>
      <vt:lpstr>Custom Design</vt:lpstr>
      <vt:lpstr>Showeet theme</vt:lpstr>
      <vt:lpstr>showeet</vt:lpstr>
      <vt:lpstr>Security, Privacy and Ethical Issues in next-gen Automotive</vt:lpstr>
      <vt:lpstr>Carl Benz Patents World’s First Automobile </vt:lpstr>
      <vt:lpstr>SAE J3016</vt:lpstr>
      <vt:lpstr>Connected Vehicle Ecosystem</vt:lpstr>
      <vt:lpstr>Vehicle Data</vt:lpstr>
      <vt:lpstr>More Vehicle Data</vt:lpstr>
      <vt:lpstr>PowerPoint Presentation</vt:lpstr>
      <vt:lpstr>PowerPoint Presentation</vt:lpstr>
      <vt:lpstr>Privacy related attacks </vt:lpstr>
      <vt:lpstr>Risks related to different sensors</vt:lpstr>
      <vt:lpstr>PowerPoint Presentation</vt:lpstr>
      <vt:lpstr>Some Challenges </vt:lpstr>
      <vt:lpstr>Dissemination of vehicle data</vt:lpstr>
      <vt:lpstr>Vision </vt:lpstr>
      <vt:lpstr>Ethical dilemma</vt:lpstr>
      <vt:lpstr>PowerPoint Presentation</vt:lpstr>
      <vt:lpstr>PowerPoint Presentation</vt:lpstr>
      <vt:lpstr>PowerPoint Presentation</vt:lpstr>
      <vt:lpstr>PowerPoint Presentation</vt:lpstr>
      <vt:lpstr>Connected Vehicle Ecosystem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BBLER - Creative PowerPoint Template</dc:title>
  <dc:creator>showeet.com</dc:creator>
  <dc:description>© Copyright Showeet.com</dc:description>
  <cp:lastModifiedBy>Ashish</cp:lastModifiedBy>
  <cp:revision>62</cp:revision>
  <dcterms:created xsi:type="dcterms:W3CDTF">2011-05-09T14:18:21Z</dcterms:created>
  <dcterms:modified xsi:type="dcterms:W3CDTF">2022-03-22T13:26:42Z</dcterms:modified>
  <cp:category>Templates</cp:category>
</cp:coreProperties>
</file>